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1.xml" ContentType="application/vnd.openxmlformats-officedocument.themeOverr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58" r:id="rId7"/>
    <p:sldId id="266" r:id="rId8"/>
    <p:sldId id="271" r:id="rId9"/>
    <p:sldId id="275" r:id="rId10"/>
    <p:sldId id="279" r:id="rId11"/>
    <p:sldId id="261" r:id="rId12"/>
    <p:sldId id="269" r:id="rId13"/>
    <p:sldId id="274" r:id="rId14"/>
    <p:sldId id="293" r:id="rId15"/>
    <p:sldId id="272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469" userDrawn="1">
          <p15:clr>
            <a:srgbClr val="A4A3A4"/>
          </p15:clr>
        </p15:guide>
        <p15:guide id="3" orient="horz" pos="527" userDrawn="1">
          <p15:clr>
            <a:srgbClr val="A4A3A4"/>
          </p15:clr>
        </p15:guide>
        <p15:guide id="4" orient="horz" pos="4133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8" orient="horz" pos="913" userDrawn="1">
          <p15:clr>
            <a:srgbClr val="A4A3A4"/>
          </p15:clr>
        </p15:guide>
        <p15:guide id="9" pos="1005" userDrawn="1">
          <p15:clr>
            <a:srgbClr val="A4A3A4"/>
          </p15:clr>
        </p15:guide>
        <p15:guide id="10" pos="11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3B579D"/>
    <a:srgbClr val="1D4999"/>
    <a:srgbClr val="FFFFFF"/>
    <a:srgbClr val="ADB9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4" autoAdjust="0"/>
    <p:restoredTop sz="94538"/>
  </p:normalViewPr>
  <p:slideViewPr>
    <p:cSldViewPr snapToGrid="0">
      <p:cViewPr varScale="1">
        <p:scale>
          <a:sx n="99" d="100"/>
          <a:sy n="99" d="100"/>
        </p:scale>
        <p:origin x="200" y="328"/>
      </p:cViewPr>
      <p:guideLst>
        <p:guide pos="7469"/>
        <p:guide orient="horz" pos="527"/>
        <p:guide orient="horz" pos="4133"/>
        <p:guide pos="211"/>
        <p:guide orient="horz" pos="913"/>
        <p:guide pos="1005"/>
        <p:guide pos="111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rgbClr val="002060"/>
                </a:solidFill>
              </a:rPr>
              <a:t>Spendensummen in EU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endensumme</c:v>
                </c:pt>
              </c:strCache>
            </c:strRef>
          </c:tx>
          <c:spPr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/>
          </c:spPr>
          <c:invertIfNegative val="0"/>
          <c:dLbls>
            <c:dLbl>
              <c:idx val="8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.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8B-4994-A2D4-9CCB72A2BD90}"/>
                </c:ext>
              </c:extLst>
            </c:dLbl>
            <c:dLbl>
              <c:idx val="9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90-A34F-BF63-000B1EC8947F}"/>
                </c:ext>
              </c:extLst>
            </c:dLbl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Tabelle1!$A$2:$A$12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Tabelle1!$B$2:$B$12</c:f>
              <c:numCache>
                <c:formatCode>#,##0</c:formatCode>
                <c:ptCount val="11"/>
                <c:pt idx="0">
                  <c:v>33400</c:v>
                </c:pt>
                <c:pt idx="1">
                  <c:v>20700</c:v>
                </c:pt>
                <c:pt idx="2">
                  <c:v>39000</c:v>
                </c:pt>
                <c:pt idx="3">
                  <c:v>25000</c:v>
                </c:pt>
                <c:pt idx="4">
                  <c:v>34500</c:v>
                </c:pt>
                <c:pt idx="5">
                  <c:v>44400</c:v>
                </c:pt>
                <c:pt idx="6">
                  <c:v>38300</c:v>
                </c:pt>
                <c:pt idx="7">
                  <c:v>32000</c:v>
                </c:pt>
                <c:pt idx="8">
                  <c:v>27500</c:v>
                </c:pt>
                <c:pt idx="9">
                  <c:v>31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62-41A2-BEDD-997F8072C5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overlap val="-90"/>
        <c:axId val="331943640"/>
        <c:axId val="331942000"/>
      </c:barChart>
      <c:catAx>
        <c:axId val="3319436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331942000"/>
        <c:crosses val="autoZero"/>
        <c:auto val="1"/>
        <c:lblAlgn val="ctr"/>
        <c:lblOffset val="100"/>
        <c:noMultiLvlLbl val="0"/>
      </c:catAx>
      <c:valAx>
        <c:axId val="3319420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31943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4C8645-2080-8F45-9B8C-B2CAA833D3D8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FE2062-6B3F-9A4D-A8EF-C48F985693DB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080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FE2062-6B3F-9A4D-A8EF-C48F985693D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137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55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6422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329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546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143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900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474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203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4479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5028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2059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5949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30" imgH="531" progId="TCLayout.ActiveDocument.1">
                  <p:embed/>
                </p:oleObj>
              </mc:Choice>
              <mc:Fallback>
                <p:oleObj name="think-cell Slide" r:id="rId15" imgW="530" imgH="5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D0160-3593-4F77-A508-B2982036E947}" type="datetimeFigureOut">
              <a:rPr lang="de-DE" smtClean="0"/>
              <a:t>02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68EA3-97A8-4AEE-8746-F39454DB12B1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36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00.jpeg"/><Relationship Id="rId5" Type="http://schemas.openxmlformats.org/officeDocument/2006/relationships/image" Target="../media/image99.jpeg"/><Relationship Id="rId4" Type="http://schemas.openxmlformats.org/officeDocument/2006/relationships/image" Target="../media/image1.emf"/><Relationship Id="rId9" Type="http://schemas.openxmlformats.org/officeDocument/2006/relationships/image" Target="../media/image3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7.png"/><Relationship Id="rId18" Type="http://schemas.openxmlformats.org/officeDocument/2006/relationships/image" Target="../media/image3.jpg"/><Relationship Id="rId3" Type="http://schemas.openxmlformats.org/officeDocument/2006/relationships/image" Target="../media/image101.png"/><Relationship Id="rId7" Type="http://schemas.openxmlformats.org/officeDocument/2006/relationships/image" Target="../media/image103.png"/><Relationship Id="rId12" Type="http://schemas.openxmlformats.org/officeDocument/2006/relationships/image" Target="../media/image5.png"/><Relationship Id="rId17" Type="http://schemas.openxmlformats.org/officeDocument/2006/relationships/image" Target="../media/image11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10.png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109.png"/><Relationship Id="rId10" Type="http://schemas.openxmlformats.org/officeDocument/2006/relationships/image" Target="../media/image106.svg"/><Relationship Id="rId4" Type="http://schemas.openxmlformats.org/officeDocument/2006/relationships/image" Target="../media/image102.svg"/><Relationship Id="rId9" Type="http://schemas.openxmlformats.org/officeDocument/2006/relationships/image" Target="../media/image105.png"/><Relationship Id="rId14" Type="http://schemas.openxmlformats.org/officeDocument/2006/relationships/image" Target="../media/image10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.tiff"/><Relationship Id="rId5" Type="http://schemas.openxmlformats.org/officeDocument/2006/relationships/image" Target="../media/image6.png"/><Relationship Id="rId10" Type="http://schemas.openxmlformats.org/officeDocument/2006/relationships/image" Target="../media/image3.jp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0.jpeg"/><Relationship Id="rId11" Type="http://schemas.openxmlformats.org/officeDocument/2006/relationships/image" Target="../media/image3.jpg"/><Relationship Id="rId5" Type="http://schemas.openxmlformats.org/officeDocument/2006/relationships/image" Target="../media/image9.jpeg"/><Relationship Id="rId10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jpeg"/><Relationship Id="rId12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4.jpeg"/><Relationship Id="rId11" Type="http://schemas.openxmlformats.org/officeDocument/2006/relationships/image" Target="../media/image5.png"/><Relationship Id="rId5" Type="http://schemas.openxmlformats.org/officeDocument/2006/relationships/image" Target="../media/image13.png"/><Relationship Id="rId10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17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5" Type="http://schemas.openxmlformats.org/officeDocument/2006/relationships/image" Target="../media/image18.tiff"/><Relationship Id="rId10" Type="http://schemas.openxmlformats.org/officeDocument/2006/relationships/image" Target="../media/image3.jp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oleObject" Target="../embeddings/oleObject8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1.tiff"/><Relationship Id="rId21" Type="http://schemas.openxmlformats.org/officeDocument/2006/relationships/image" Target="../media/image36.tiff"/><Relationship Id="rId42" Type="http://schemas.openxmlformats.org/officeDocument/2006/relationships/image" Target="../media/image57.png"/><Relationship Id="rId47" Type="http://schemas.openxmlformats.org/officeDocument/2006/relationships/image" Target="../media/image62.tiff"/><Relationship Id="rId63" Type="http://schemas.openxmlformats.org/officeDocument/2006/relationships/image" Target="../media/image78.emf"/><Relationship Id="rId68" Type="http://schemas.openxmlformats.org/officeDocument/2006/relationships/image" Target="../media/image83.png"/><Relationship Id="rId84" Type="http://schemas.openxmlformats.org/officeDocument/2006/relationships/image" Target="../media/image5.png"/><Relationship Id="rId16" Type="http://schemas.openxmlformats.org/officeDocument/2006/relationships/image" Target="../media/image31.png"/><Relationship Id="rId11" Type="http://schemas.openxmlformats.org/officeDocument/2006/relationships/image" Target="../media/image26.pn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53" Type="http://schemas.openxmlformats.org/officeDocument/2006/relationships/image" Target="../media/image68.png"/><Relationship Id="rId58" Type="http://schemas.openxmlformats.org/officeDocument/2006/relationships/image" Target="../media/image73.png"/><Relationship Id="rId74" Type="http://schemas.openxmlformats.org/officeDocument/2006/relationships/image" Target="../media/image89.png"/><Relationship Id="rId79" Type="http://schemas.openxmlformats.org/officeDocument/2006/relationships/image" Target="../media/image94.png"/><Relationship Id="rId5" Type="http://schemas.openxmlformats.org/officeDocument/2006/relationships/image" Target="../media/image1.emf"/><Relationship Id="rId19" Type="http://schemas.openxmlformats.org/officeDocument/2006/relationships/image" Target="../media/image34.tiff"/><Relationship Id="rId14" Type="http://schemas.openxmlformats.org/officeDocument/2006/relationships/image" Target="../media/image29.jpeg"/><Relationship Id="rId22" Type="http://schemas.openxmlformats.org/officeDocument/2006/relationships/image" Target="../media/image37.tiff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50.tiff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56" Type="http://schemas.openxmlformats.org/officeDocument/2006/relationships/image" Target="../media/image71.tiff"/><Relationship Id="rId64" Type="http://schemas.openxmlformats.org/officeDocument/2006/relationships/image" Target="../media/image79.tiff"/><Relationship Id="rId69" Type="http://schemas.openxmlformats.org/officeDocument/2006/relationships/image" Target="../media/image84.png"/><Relationship Id="rId77" Type="http://schemas.openxmlformats.org/officeDocument/2006/relationships/image" Target="../media/image92.png"/><Relationship Id="rId8" Type="http://schemas.openxmlformats.org/officeDocument/2006/relationships/image" Target="../media/image23.png"/><Relationship Id="rId51" Type="http://schemas.openxmlformats.org/officeDocument/2006/relationships/image" Target="../media/image66.tiff"/><Relationship Id="rId72" Type="http://schemas.openxmlformats.org/officeDocument/2006/relationships/image" Target="../media/image87.png"/><Relationship Id="rId80" Type="http://schemas.openxmlformats.org/officeDocument/2006/relationships/image" Target="../media/image95.png"/><Relationship Id="rId85" Type="http://schemas.openxmlformats.org/officeDocument/2006/relationships/image" Target="../media/image3.jpg"/><Relationship Id="rId3" Type="http://schemas.openxmlformats.org/officeDocument/2006/relationships/notesSlide" Target="../notesSlides/notesSlide1.xml"/><Relationship Id="rId12" Type="http://schemas.openxmlformats.org/officeDocument/2006/relationships/image" Target="../media/image27.jpeg"/><Relationship Id="rId17" Type="http://schemas.openxmlformats.org/officeDocument/2006/relationships/image" Target="../media/image32.gif"/><Relationship Id="rId25" Type="http://schemas.openxmlformats.org/officeDocument/2006/relationships/image" Target="../media/image40.tiff"/><Relationship Id="rId33" Type="http://schemas.openxmlformats.org/officeDocument/2006/relationships/image" Target="../media/image48.png"/><Relationship Id="rId38" Type="http://schemas.openxmlformats.org/officeDocument/2006/relationships/image" Target="../media/image53.tiff"/><Relationship Id="rId46" Type="http://schemas.openxmlformats.org/officeDocument/2006/relationships/image" Target="../media/image61.tiff"/><Relationship Id="rId59" Type="http://schemas.openxmlformats.org/officeDocument/2006/relationships/image" Target="../media/image74.png"/><Relationship Id="rId67" Type="http://schemas.openxmlformats.org/officeDocument/2006/relationships/image" Target="../media/image82.png"/><Relationship Id="rId20" Type="http://schemas.openxmlformats.org/officeDocument/2006/relationships/image" Target="../media/image35.tiff"/><Relationship Id="rId41" Type="http://schemas.openxmlformats.org/officeDocument/2006/relationships/image" Target="../media/image56.png"/><Relationship Id="rId54" Type="http://schemas.openxmlformats.org/officeDocument/2006/relationships/image" Target="../media/image69.tiff"/><Relationship Id="rId62" Type="http://schemas.openxmlformats.org/officeDocument/2006/relationships/image" Target="../media/image77.emf"/><Relationship Id="rId70" Type="http://schemas.openxmlformats.org/officeDocument/2006/relationships/image" Target="../media/image85.png"/><Relationship Id="rId75" Type="http://schemas.openxmlformats.org/officeDocument/2006/relationships/image" Target="../media/image90.png"/><Relationship Id="rId83" Type="http://schemas.openxmlformats.org/officeDocument/2006/relationships/image" Target="../media/image4.png"/><Relationship Id="rId1" Type="http://schemas.openxmlformats.org/officeDocument/2006/relationships/tags" Target="../tags/tag12.xml"/><Relationship Id="rId6" Type="http://schemas.openxmlformats.org/officeDocument/2006/relationships/image" Target="../media/image21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36" Type="http://schemas.openxmlformats.org/officeDocument/2006/relationships/image" Target="../media/image51.png"/><Relationship Id="rId49" Type="http://schemas.openxmlformats.org/officeDocument/2006/relationships/image" Target="../media/image64.png"/><Relationship Id="rId57" Type="http://schemas.openxmlformats.org/officeDocument/2006/relationships/image" Target="../media/image72.tiff"/><Relationship Id="rId10" Type="http://schemas.openxmlformats.org/officeDocument/2006/relationships/image" Target="../media/image25.png"/><Relationship Id="rId31" Type="http://schemas.openxmlformats.org/officeDocument/2006/relationships/image" Target="../media/image46.png"/><Relationship Id="rId44" Type="http://schemas.openxmlformats.org/officeDocument/2006/relationships/image" Target="../media/image59.tiff"/><Relationship Id="rId52" Type="http://schemas.openxmlformats.org/officeDocument/2006/relationships/image" Target="../media/image67.tiff"/><Relationship Id="rId60" Type="http://schemas.openxmlformats.org/officeDocument/2006/relationships/image" Target="../media/image75.png"/><Relationship Id="rId65" Type="http://schemas.openxmlformats.org/officeDocument/2006/relationships/image" Target="../media/image80.png"/><Relationship Id="rId73" Type="http://schemas.openxmlformats.org/officeDocument/2006/relationships/image" Target="../media/image88.png"/><Relationship Id="rId78" Type="http://schemas.openxmlformats.org/officeDocument/2006/relationships/image" Target="../media/image93.png"/><Relationship Id="rId81" Type="http://schemas.openxmlformats.org/officeDocument/2006/relationships/image" Target="../media/image96.png"/><Relationship Id="rId86" Type="http://schemas.openxmlformats.org/officeDocument/2006/relationships/image" Target="../media/image98.jp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4.png"/><Relationship Id="rId13" Type="http://schemas.openxmlformats.org/officeDocument/2006/relationships/image" Target="../media/image28.png"/><Relationship Id="rId18" Type="http://schemas.openxmlformats.org/officeDocument/2006/relationships/image" Target="../media/image33.tiff"/><Relationship Id="rId39" Type="http://schemas.openxmlformats.org/officeDocument/2006/relationships/image" Target="../media/image54.png"/><Relationship Id="rId34" Type="http://schemas.openxmlformats.org/officeDocument/2006/relationships/image" Target="../media/image49.tiff"/><Relationship Id="rId50" Type="http://schemas.openxmlformats.org/officeDocument/2006/relationships/image" Target="../media/image65.tiff"/><Relationship Id="rId55" Type="http://schemas.openxmlformats.org/officeDocument/2006/relationships/image" Target="../media/image70.emf"/><Relationship Id="rId76" Type="http://schemas.openxmlformats.org/officeDocument/2006/relationships/image" Target="../media/image91.png"/><Relationship Id="rId7" Type="http://schemas.openxmlformats.org/officeDocument/2006/relationships/image" Target="../media/image22.png"/><Relationship Id="rId71" Type="http://schemas.openxmlformats.org/officeDocument/2006/relationships/image" Target="../media/image86.png"/><Relationship Id="rId2" Type="http://schemas.openxmlformats.org/officeDocument/2006/relationships/slideLayout" Target="../slideLayouts/slideLayout1.xml"/><Relationship Id="rId29" Type="http://schemas.openxmlformats.org/officeDocument/2006/relationships/image" Target="../media/image44.jpeg"/><Relationship Id="rId24" Type="http://schemas.openxmlformats.org/officeDocument/2006/relationships/image" Target="../media/image39.tiff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66" Type="http://schemas.openxmlformats.org/officeDocument/2006/relationships/image" Target="../media/image81.tiff"/><Relationship Id="rId61" Type="http://schemas.openxmlformats.org/officeDocument/2006/relationships/image" Target="../media/image76.tiff"/><Relationship Id="rId82" Type="http://schemas.openxmlformats.org/officeDocument/2006/relationships/image" Target="../media/image9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176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2160883" y="-12357"/>
            <a:ext cx="10065590" cy="6890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17236" y="-274637"/>
            <a:ext cx="212640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159588" y="6452558"/>
            <a:ext cx="2191109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100" dirty="0">
                <a:solidFill>
                  <a:srgbClr val="002060"/>
                </a:solidFill>
                <a:latin typeface="Arial"/>
                <a:cs typeface="Arial"/>
              </a:rPr>
              <a:t>2022/2023</a:t>
            </a:r>
            <a:endParaRPr lang="de-DE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59588" y="5328249"/>
            <a:ext cx="168806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B Business School</a:t>
            </a:r>
          </a:p>
          <a:p>
            <a:r>
              <a:rPr lang="de-DE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tlingen University</a:t>
            </a:r>
          </a:p>
          <a:p>
            <a:endParaRPr lang="de-DE" sz="11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burgstr</a:t>
            </a:r>
            <a:r>
              <a:rPr lang="de-DE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50</a:t>
            </a:r>
          </a:p>
          <a:p>
            <a:r>
              <a:rPr lang="de-DE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762 Reutlingen</a:t>
            </a:r>
          </a:p>
        </p:txBody>
      </p:sp>
      <p:grpSp>
        <p:nvGrpSpPr>
          <p:cNvPr id="13" name="Group 1">
            <a:extLst>
              <a:ext uri="{FF2B5EF4-FFF2-40B4-BE49-F238E27FC236}">
                <a16:creationId xmlns:a16="http://schemas.microsoft.com/office/drawing/2014/main" id="{A42275EB-5136-425C-8370-09D16C771E40}"/>
              </a:ext>
            </a:extLst>
          </p:cNvPr>
          <p:cNvGrpSpPr/>
          <p:nvPr/>
        </p:nvGrpSpPr>
        <p:grpSpPr>
          <a:xfrm>
            <a:off x="2430493" y="0"/>
            <a:ext cx="9074154" cy="3793448"/>
            <a:chOff x="378372" y="374970"/>
            <a:chExt cx="3046415" cy="1065498"/>
          </a:xfrm>
        </p:grpSpPr>
        <p:pic>
          <p:nvPicPr>
            <p:cNvPr id="14" name="Picture 6">
              <a:extLst>
                <a:ext uri="{FF2B5EF4-FFF2-40B4-BE49-F238E27FC236}">
                  <a16:creationId xmlns:a16="http://schemas.microsoft.com/office/drawing/2014/main" id="{4730BAFB-EE13-444A-A258-23FC2D43D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372" y="374970"/>
              <a:ext cx="1065498" cy="1065498"/>
            </a:xfrm>
            <a:prstGeom prst="rect">
              <a:avLst/>
            </a:prstGeom>
          </p:spPr>
        </p:pic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8973AEC4-47FF-441F-A67C-A031E34611B0}"/>
                </a:ext>
              </a:extLst>
            </p:cNvPr>
            <p:cNvSpPr txBox="1"/>
            <p:nvPr/>
          </p:nvSpPr>
          <p:spPr>
            <a:xfrm>
              <a:off x="1608972" y="609474"/>
              <a:ext cx="1815815" cy="596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660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SB CYCLING FOR CHARITY</a:t>
              </a:r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2518861" y="4231696"/>
            <a:ext cx="928068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  <a:latin typeface="Open Sans" panose="020B0606030504020204"/>
                <a:cs typeface="Arial"/>
              </a:rPr>
              <a:t>Offizielle Spender- &amp; Sponsorenpräsentation 2022/23</a:t>
            </a:r>
            <a:endParaRPr lang="de-DE" sz="2800" dirty="0">
              <a:solidFill>
                <a:schemeClr val="bg1"/>
              </a:solidFill>
              <a:latin typeface="Open Sans" panose="020B0606030504020204"/>
              <a:cs typeface="Arial" panose="020B0604020202020204" pitchFamily="34" charset="0"/>
            </a:endParaRPr>
          </a:p>
        </p:txBody>
      </p:sp>
      <p:cxnSp>
        <p:nvCxnSpPr>
          <p:cNvPr id="18" name="Gerader Verbinder 17"/>
          <p:cNvCxnSpPr>
            <a:cxnSpLocks/>
          </p:cNvCxnSpPr>
          <p:nvPr/>
        </p:nvCxnSpPr>
        <p:spPr>
          <a:xfrm>
            <a:off x="2755557" y="4881489"/>
            <a:ext cx="884743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B40213E-ED92-A244-BD3B-4F5E9330AA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2" y="276177"/>
            <a:ext cx="1187523" cy="6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47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51;p5">
            <a:extLst>
              <a:ext uri="{FF2B5EF4-FFF2-40B4-BE49-F238E27FC236}">
                <a16:creationId xmlns:a16="http://schemas.microsoft.com/office/drawing/2014/main" id="{A4948B9C-E794-495B-8B91-70459A381925}"/>
              </a:ext>
            </a:extLst>
          </p:cNvPr>
          <p:cNvSpPr txBox="1"/>
          <p:nvPr/>
        </p:nvSpPr>
        <p:spPr>
          <a:xfrm>
            <a:off x="334962" y="1625774"/>
            <a:ext cx="11522075" cy="12092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endParaRPr lang="de-DE" sz="1000">
              <a:solidFill>
                <a:prstClr val="black"/>
              </a:solidFill>
              <a:latin typeface="Open Sans" panose="020B0606030504020204"/>
            </a:endParaRPr>
          </a:p>
          <a:p>
            <a:pPr lvl="0"/>
            <a:endParaRPr lang="de-DE" sz="1000">
              <a:solidFill>
                <a:prstClr val="black"/>
              </a:solidFill>
              <a:latin typeface="Open Sans" panose="020B0606030504020204"/>
            </a:endParaRPr>
          </a:p>
          <a:p>
            <a:pPr lvl="0"/>
            <a:endParaRPr lang="de-DE" sz="1000">
              <a:solidFill>
                <a:prstClr val="black"/>
              </a:solidFill>
              <a:latin typeface="Open Sans" panose="020B0606030504020204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  <a:buFont typeface="Avenir"/>
              <a:buNone/>
            </a:pPr>
            <a:r>
              <a:rPr lang="de-DE" sz="2400">
                <a:solidFill>
                  <a:srgbClr val="002060"/>
                </a:solidFill>
                <a:latin typeface="Open Sans" panose="020B0606030504020204"/>
                <a:ea typeface="Open Sans" panose="020B0606030504020204" pitchFamily="34" charset="0"/>
                <a:cs typeface="Arial" panose="020B0604020202020204" pitchFamily="34" charset="0"/>
                <a:sym typeface="Avenir"/>
              </a:rPr>
              <a:t>Impressionen der letzten Jahre</a:t>
            </a:r>
          </a:p>
        </p:txBody>
      </p:sp>
      <p:sp>
        <p:nvSpPr>
          <p:cNvPr id="65" name="Rechteck 64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9</a:t>
            </a:r>
          </a:p>
        </p:txBody>
      </p:sp>
      <p:pic>
        <p:nvPicPr>
          <p:cNvPr id="104" name="Grafik 2">
            <a:extLst>
              <a:ext uri="{FF2B5EF4-FFF2-40B4-BE49-F238E27FC236}">
                <a16:creationId xmlns:a16="http://schemas.microsoft.com/office/drawing/2014/main" id="{A957B9D3-D89E-404C-8C03-D080D600BE9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962" y="3044673"/>
            <a:ext cx="5302800" cy="3312000"/>
          </a:xfrm>
          <a:prstGeom prst="rect">
            <a:avLst/>
          </a:prstGeom>
          <a:effectLst/>
        </p:spPr>
      </p:pic>
      <p:pic>
        <p:nvPicPr>
          <p:cNvPr id="132" name="Grafik 2">
            <a:extLst>
              <a:ext uri="{FF2B5EF4-FFF2-40B4-BE49-F238E27FC236}">
                <a16:creationId xmlns:a16="http://schemas.microsoft.com/office/drawing/2014/main" id="{0564CC16-54F8-47EB-B0DB-842F6C8EA09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3718" y="3044673"/>
            <a:ext cx="5303319" cy="3312000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ED5274CE-638B-4053-93FC-C93DB896F1D3}"/>
              </a:ext>
            </a:extLst>
          </p:cNvPr>
          <p:cNvGrpSpPr/>
          <p:nvPr/>
        </p:nvGrpSpPr>
        <p:grpSpPr>
          <a:xfrm>
            <a:off x="323936" y="1945175"/>
            <a:ext cx="4215502" cy="706517"/>
            <a:chOff x="323936" y="1945175"/>
            <a:chExt cx="4215502" cy="706517"/>
          </a:xfrm>
        </p:grpSpPr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9D6385D4-54C8-4A43-8929-B3FB03A12C34}"/>
                </a:ext>
              </a:extLst>
            </p:cNvPr>
            <p:cNvSpPr/>
            <p:nvPr/>
          </p:nvSpPr>
          <p:spPr>
            <a:xfrm>
              <a:off x="323936" y="1945175"/>
              <a:ext cx="402838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„Cycling for Charity: Studenten radeln für krebskranke Kinder nach Mallorca“</a:t>
              </a: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C5CBF532-A7DD-4F3B-8E38-0726170BDBD3}"/>
                </a:ext>
              </a:extLst>
            </p:cNvPr>
            <p:cNvSpPr txBox="1"/>
            <p:nvPr/>
          </p:nvSpPr>
          <p:spPr>
            <a:xfrm>
              <a:off x="3207981" y="2405471"/>
              <a:ext cx="13314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üdwestpresse</a:t>
              </a:r>
            </a:p>
          </p:txBody>
        </p:sp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id="{1BF72F57-3F0B-49B9-9F8D-39C6FF21C9F3}"/>
              </a:ext>
            </a:extLst>
          </p:cNvPr>
          <p:cNvGrpSpPr/>
          <p:nvPr/>
        </p:nvGrpSpPr>
        <p:grpSpPr>
          <a:xfrm>
            <a:off x="5163344" y="1945175"/>
            <a:ext cx="3280477" cy="706517"/>
            <a:chOff x="5163344" y="1945175"/>
            <a:chExt cx="3280477" cy="706517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4765E861-140F-4C32-97A4-295D98EB2C10}"/>
                </a:ext>
              </a:extLst>
            </p:cNvPr>
            <p:cNvSpPr/>
            <p:nvPr/>
          </p:nvSpPr>
          <p:spPr>
            <a:xfrm>
              <a:off x="5163344" y="1945175"/>
              <a:ext cx="305362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„Reutlinger Studierende sammeln 38.000 Euro für bedürftige Kinder“</a:t>
              </a:r>
            </a:p>
          </p:txBody>
        </p:sp>
        <p:sp>
          <p:nvSpPr>
            <p:cNvPr id="134" name="CuadroTexto 133">
              <a:extLst>
                <a:ext uri="{FF2B5EF4-FFF2-40B4-BE49-F238E27FC236}">
                  <a16:creationId xmlns:a16="http://schemas.microsoft.com/office/drawing/2014/main" id="{920A2A0F-8873-4C5A-94E8-18F2DAC321EA}"/>
                </a:ext>
              </a:extLst>
            </p:cNvPr>
            <p:cNvSpPr txBox="1"/>
            <p:nvPr/>
          </p:nvSpPr>
          <p:spPr>
            <a:xfrm>
              <a:off x="6972922" y="2405471"/>
              <a:ext cx="14708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utlingen University</a:t>
              </a: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E3B97CB6-FCDC-4A10-8295-8BFC3998C931}"/>
              </a:ext>
            </a:extLst>
          </p:cNvPr>
          <p:cNvGrpSpPr/>
          <p:nvPr/>
        </p:nvGrpSpPr>
        <p:grpSpPr>
          <a:xfrm>
            <a:off x="9259220" y="1945175"/>
            <a:ext cx="2377064" cy="706517"/>
            <a:chOff x="9259220" y="1945175"/>
            <a:chExt cx="2377064" cy="706517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1FFFD2D5-2BD2-4F2E-8529-206A783E2907}"/>
                </a:ext>
              </a:extLst>
            </p:cNvPr>
            <p:cNvSpPr/>
            <p:nvPr/>
          </p:nvSpPr>
          <p:spPr>
            <a:xfrm>
              <a:off x="9259220" y="1945175"/>
              <a:ext cx="20402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„1.600 Kilometer, die zusammenschweißen“</a:t>
              </a:r>
            </a:p>
          </p:txBody>
        </p:sp>
        <p:sp>
          <p:nvSpPr>
            <p:cNvPr id="135" name="CuadroTexto 134">
              <a:extLst>
                <a:ext uri="{FF2B5EF4-FFF2-40B4-BE49-F238E27FC236}">
                  <a16:creationId xmlns:a16="http://schemas.microsoft.com/office/drawing/2014/main" id="{F9A11597-A3DD-4332-9E3A-9421A4779910}"/>
                </a:ext>
              </a:extLst>
            </p:cNvPr>
            <p:cNvSpPr txBox="1"/>
            <p:nvPr/>
          </p:nvSpPr>
          <p:spPr>
            <a:xfrm>
              <a:off x="9761260" y="2405471"/>
              <a:ext cx="187502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utlinger General Anzeiger</a:t>
              </a:r>
            </a:p>
          </p:txBody>
        </p:sp>
      </p:grpSp>
      <p:sp>
        <p:nvSpPr>
          <p:cNvPr id="137" name="Google Shape;46;p5">
            <a:extLst>
              <a:ext uri="{FF2B5EF4-FFF2-40B4-BE49-F238E27FC236}">
                <a16:creationId xmlns:a16="http://schemas.microsoft.com/office/drawing/2014/main" id="{2696D0BD-DE8F-4B38-8B11-815DE5A6D934}"/>
              </a:ext>
            </a:extLst>
          </p:cNvPr>
          <p:cNvSpPr txBox="1">
            <a:spLocks/>
          </p:cNvSpPr>
          <p:nvPr/>
        </p:nvSpPr>
        <p:spPr>
          <a:xfrm>
            <a:off x="423144" y="1498474"/>
            <a:ext cx="1152000" cy="2800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36000" tIns="0" rIns="3600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400"/>
              <a:buFont typeface="Arial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ess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70CA854-BAA2-804C-9CFF-97FAE2EE1945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8D17AF5-3B85-2343-A606-BFA88AA10C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8"/>
              <a:tile tx="0" ty="0" sx="100000" sy="100000" flip="none" algn="tl"/>
            </a:blipFill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26E418F-F48A-514A-97E6-B2ED0D70A783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24" name="Grafik 2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D8352B9-79CC-FF41-A2C2-7EFB9A8889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12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6;p5">
            <a:extLst>
              <a:ext uri="{FF2B5EF4-FFF2-40B4-BE49-F238E27FC236}">
                <a16:creationId xmlns:a16="http://schemas.microsoft.com/office/drawing/2014/main" id="{25D80D15-5298-44CD-8F6D-73138FBDC150}"/>
              </a:ext>
            </a:extLst>
          </p:cNvPr>
          <p:cNvSpPr txBox="1">
            <a:spLocks/>
          </p:cNvSpPr>
          <p:nvPr/>
        </p:nvSpPr>
        <p:spPr>
          <a:xfrm>
            <a:off x="334963" y="5046403"/>
            <a:ext cx="11522075" cy="122393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30000"/>
              </a:lnSpc>
              <a:spcBef>
                <a:spcPts val="0"/>
              </a:spcBef>
              <a:buClr>
                <a:schemeClr val="dk1"/>
              </a:buClr>
              <a:buSzPts val="1400"/>
              <a:buFont typeface="Arial"/>
              <a:buNone/>
            </a:pPr>
            <a:endParaRPr lang="de-DE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7" name="Gráfico 6" descr="Internet">
            <a:extLst>
              <a:ext uri="{FF2B5EF4-FFF2-40B4-BE49-F238E27FC236}">
                <a16:creationId xmlns:a16="http://schemas.microsoft.com/office/drawing/2014/main" id="{C5ADCE98-02AC-4FF3-8FB9-A3264D6ABA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52913" y="5425430"/>
            <a:ext cx="387583" cy="387583"/>
          </a:xfrm>
          <a:prstGeom prst="rect">
            <a:avLst/>
          </a:prstGeom>
        </p:spPr>
      </p:pic>
      <p:sp>
        <p:nvSpPr>
          <p:cNvPr id="40" name="Rechteck 39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  | 10</a:t>
            </a: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Ihre Ansprechpartner</a:t>
            </a:r>
          </a:p>
        </p:txBody>
      </p:sp>
      <p:sp>
        <p:nvSpPr>
          <p:cNvPr id="31" name="Google Shape;330;p15"/>
          <p:cNvSpPr txBox="1"/>
          <p:nvPr/>
        </p:nvSpPr>
        <p:spPr>
          <a:xfrm>
            <a:off x="6605481" y="5046543"/>
            <a:ext cx="4819973" cy="519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1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WEITERE INFORMATIONEN ZUR 20. ESB CYCLING TOUR FOR CHARITY</a:t>
            </a:r>
            <a:endParaRPr sz="11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b="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293;p14">
            <a:extLst>
              <a:ext uri="{FF2B5EF4-FFF2-40B4-BE49-F238E27FC236}">
                <a16:creationId xmlns:a16="http://schemas.microsoft.com/office/drawing/2014/main" id="{02D17067-B11A-B845-9029-8780A5C46002}"/>
              </a:ext>
            </a:extLst>
          </p:cNvPr>
          <p:cNvSpPr txBox="1"/>
          <p:nvPr/>
        </p:nvSpPr>
        <p:spPr>
          <a:xfrm>
            <a:off x="7058036" y="5464269"/>
            <a:ext cx="1742353" cy="344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5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relay@ipbs-esb.com</a:t>
            </a:r>
            <a:endParaRPr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32" name="Freeform 527"/>
          <p:cNvSpPr>
            <a:spLocks noChangeAspect="1" noEditPoints="1"/>
          </p:cNvSpPr>
          <p:nvPr/>
        </p:nvSpPr>
        <p:spPr bwMode="auto">
          <a:xfrm>
            <a:off x="6681536" y="5529349"/>
            <a:ext cx="259274" cy="196886"/>
          </a:xfrm>
          <a:custGeom>
            <a:avLst/>
            <a:gdLst/>
            <a:ahLst/>
            <a:cxnLst>
              <a:cxn ang="0">
                <a:pos x="161" y="0"/>
              </a:cxn>
              <a:cxn ang="0">
                <a:pos x="8" y="0"/>
              </a:cxn>
              <a:cxn ang="0">
                <a:pos x="0" y="8"/>
              </a:cxn>
              <a:cxn ang="0">
                <a:pos x="0" y="120"/>
              </a:cxn>
              <a:cxn ang="0">
                <a:pos x="8" y="128"/>
              </a:cxn>
              <a:cxn ang="0">
                <a:pos x="161" y="128"/>
              </a:cxn>
              <a:cxn ang="0">
                <a:pos x="169" y="120"/>
              </a:cxn>
              <a:cxn ang="0">
                <a:pos x="169" y="8"/>
              </a:cxn>
              <a:cxn ang="0">
                <a:pos x="161" y="0"/>
              </a:cxn>
              <a:cxn ang="0">
                <a:pos x="130" y="22"/>
              </a:cxn>
              <a:cxn ang="0">
                <a:pos x="84" y="70"/>
              </a:cxn>
              <a:cxn ang="0">
                <a:pos x="36" y="22"/>
              </a:cxn>
              <a:cxn ang="0">
                <a:pos x="130" y="22"/>
              </a:cxn>
              <a:cxn ang="0">
                <a:pos x="20" y="38"/>
              </a:cxn>
              <a:cxn ang="0">
                <a:pos x="45" y="63"/>
              </a:cxn>
              <a:cxn ang="0">
                <a:pos x="21" y="91"/>
              </a:cxn>
              <a:cxn ang="0">
                <a:pos x="20" y="38"/>
              </a:cxn>
              <a:cxn ang="0">
                <a:pos x="35" y="107"/>
              </a:cxn>
              <a:cxn ang="0">
                <a:pos x="63" y="79"/>
              </a:cxn>
              <a:cxn ang="0">
                <a:pos x="76" y="89"/>
              </a:cxn>
              <a:cxn ang="0">
                <a:pos x="90" y="91"/>
              </a:cxn>
              <a:cxn ang="0">
                <a:pos x="105" y="80"/>
              </a:cxn>
              <a:cxn ang="0">
                <a:pos x="132" y="106"/>
              </a:cxn>
              <a:cxn ang="0">
                <a:pos x="35" y="107"/>
              </a:cxn>
              <a:cxn ang="0">
                <a:pos x="121" y="62"/>
              </a:cxn>
              <a:cxn ang="0">
                <a:pos x="146" y="36"/>
              </a:cxn>
              <a:cxn ang="0">
                <a:pos x="147" y="91"/>
              </a:cxn>
              <a:cxn ang="0">
                <a:pos x="121" y="62"/>
              </a:cxn>
            </a:cxnLst>
            <a:rect l="0" t="0" r="r" b="b"/>
            <a:pathLst>
              <a:path w="169" h="128">
                <a:moveTo>
                  <a:pt x="161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5"/>
                  <a:pt x="4" y="128"/>
                  <a:pt x="8" y="128"/>
                </a:cubicBezTo>
                <a:cubicBezTo>
                  <a:pt x="161" y="128"/>
                  <a:pt x="161" y="128"/>
                  <a:pt x="161" y="128"/>
                </a:cubicBezTo>
                <a:cubicBezTo>
                  <a:pt x="165" y="128"/>
                  <a:pt x="169" y="125"/>
                  <a:pt x="169" y="120"/>
                </a:cubicBezTo>
                <a:cubicBezTo>
                  <a:pt x="169" y="8"/>
                  <a:pt x="169" y="8"/>
                  <a:pt x="169" y="8"/>
                </a:cubicBezTo>
                <a:cubicBezTo>
                  <a:pt x="169" y="4"/>
                  <a:pt x="165" y="0"/>
                  <a:pt x="161" y="0"/>
                </a:cubicBezTo>
                <a:close/>
                <a:moveTo>
                  <a:pt x="130" y="22"/>
                </a:moveTo>
                <a:cubicBezTo>
                  <a:pt x="84" y="70"/>
                  <a:pt x="84" y="70"/>
                  <a:pt x="84" y="70"/>
                </a:cubicBezTo>
                <a:cubicBezTo>
                  <a:pt x="36" y="22"/>
                  <a:pt x="36" y="22"/>
                  <a:pt x="36" y="22"/>
                </a:cubicBezTo>
                <a:lnTo>
                  <a:pt x="130" y="22"/>
                </a:lnTo>
                <a:close/>
                <a:moveTo>
                  <a:pt x="20" y="38"/>
                </a:moveTo>
                <a:cubicBezTo>
                  <a:pt x="45" y="63"/>
                  <a:pt x="45" y="63"/>
                  <a:pt x="45" y="63"/>
                </a:cubicBezTo>
                <a:cubicBezTo>
                  <a:pt x="21" y="91"/>
                  <a:pt x="21" y="91"/>
                  <a:pt x="21" y="91"/>
                </a:cubicBezTo>
                <a:lnTo>
                  <a:pt x="20" y="38"/>
                </a:lnTo>
                <a:close/>
                <a:moveTo>
                  <a:pt x="35" y="107"/>
                </a:moveTo>
                <a:cubicBezTo>
                  <a:pt x="63" y="79"/>
                  <a:pt x="63" y="79"/>
                  <a:pt x="63" y="79"/>
                </a:cubicBezTo>
                <a:cubicBezTo>
                  <a:pt x="76" y="89"/>
                  <a:pt x="76" y="89"/>
                  <a:pt x="76" y="89"/>
                </a:cubicBezTo>
                <a:cubicBezTo>
                  <a:pt x="81" y="94"/>
                  <a:pt x="90" y="91"/>
                  <a:pt x="90" y="91"/>
                </a:cubicBezTo>
                <a:cubicBezTo>
                  <a:pt x="105" y="80"/>
                  <a:pt x="105" y="80"/>
                  <a:pt x="105" y="80"/>
                </a:cubicBezTo>
                <a:cubicBezTo>
                  <a:pt x="132" y="106"/>
                  <a:pt x="132" y="106"/>
                  <a:pt x="132" y="106"/>
                </a:cubicBezTo>
                <a:lnTo>
                  <a:pt x="35" y="107"/>
                </a:lnTo>
                <a:close/>
                <a:moveTo>
                  <a:pt x="121" y="62"/>
                </a:moveTo>
                <a:cubicBezTo>
                  <a:pt x="146" y="36"/>
                  <a:pt x="146" y="36"/>
                  <a:pt x="146" y="36"/>
                </a:cubicBezTo>
                <a:cubicBezTo>
                  <a:pt x="147" y="91"/>
                  <a:pt x="147" y="91"/>
                  <a:pt x="147" y="91"/>
                </a:cubicBezTo>
                <a:lnTo>
                  <a:pt x="121" y="6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Open Sans" panose="020B0606030504020204"/>
            </a:endParaRPr>
          </a:p>
        </p:txBody>
      </p:sp>
      <p:sp>
        <p:nvSpPr>
          <p:cNvPr id="54" name="Google Shape;298;p14">
            <a:extLst>
              <a:ext uri="{FF2B5EF4-FFF2-40B4-BE49-F238E27FC236}">
                <a16:creationId xmlns:a16="http://schemas.microsoft.com/office/drawing/2014/main" id="{C0513400-5338-CA4B-A8F8-5F3399A76342}"/>
              </a:ext>
            </a:extLst>
          </p:cNvPr>
          <p:cNvSpPr txBox="1"/>
          <p:nvPr/>
        </p:nvSpPr>
        <p:spPr>
          <a:xfrm>
            <a:off x="9077907" y="5469059"/>
            <a:ext cx="2433108" cy="336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de-DE" sz="105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www.esb-cyclingforcharity.com</a:t>
            </a:r>
            <a:endParaRPr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56" name="Google Shape;297;p14">
            <a:extLst>
              <a:ext uri="{FF2B5EF4-FFF2-40B4-BE49-F238E27FC236}">
                <a16:creationId xmlns:a16="http://schemas.microsoft.com/office/drawing/2014/main" id="{4BA8B545-3FCA-DE47-B01F-88C1AE2D8B92}"/>
              </a:ext>
            </a:extLst>
          </p:cNvPr>
          <p:cNvSpPr txBox="1"/>
          <p:nvPr/>
        </p:nvSpPr>
        <p:spPr>
          <a:xfrm>
            <a:off x="7058036" y="5794155"/>
            <a:ext cx="1918451" cy="269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SB Cycling For Charity</a:t>
            </a:r>
            <a:endParaRPr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0414" y="5813013"/>
            <a:ext cx="239949" cy="239949"/>
          </a:xfrm>
          <a:prstGeom prst="roundRect">
            <a:avLst/>
          </a:prstGeom>
          <a:noFill/>
        </p:spPr>
      </p:pic>
      <p:sp>
        <p:nvSpPr>
          <p:cNvPr id="55" name="Google Shape;293;p14">
            <a:extLst>
              <a:ext uri="{FF2B5EF4-FFF2-40B4-BE49-F238E27FC236}">
                <a16:creationId xmlns:a16="http://schemas.microsoft.com/office/drawing/2014/main" id="{DFFCE50F-61A7-7646-AE2F-BD69D95B370A}"/>
              </a:ext>
            </a:extLst>
          </p:cNvPr>
          <p:cNvSpPr txBox="1"/>
          <p:nvPr/>
        </p:nvSpPr>
        <p:spPr>
          <a:xfrm>
            <a:off x="9091560" y="5793167"/>
            <a:ext cx="874758" cy="278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5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sbrelay</a:t>
            </a:r>
            <a:endParaRPr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2914" y="5813013"/>
            <a:ext cx="387583" cy="290687"/>
          </a:xfrm>
          <a:prstGeom prst="rect">
            <a:avLst/>
          </a:prstGeom>
        </p:spPr>
      </p:pic>
      <p:grpSp>
        <p:nvGrpSpPr>
          <p:cNvPr id="19" name="Grupo 18">
            <a:extLst>
              <a:ext uri="{FF2B5EF4-FFF2-40B4-BE49-F238E27FC236}">
                <a16:creationId xmlns:a16="http://schemas.microsoft.com/office/drawing/2014/main" id="{E5B22641-DA95-4ABD-AC95-BB9B3663B37F}"/>
              </a:ext>
            </a:extLst>
          </p:cNvPr>
          <p:cNvGrpSpPr/>
          <p:nvPr/>
        </p:nvGrpSpPr>
        <p:grpSpPr>
          <a:xfrm>
            <a:off x="875972" y="5046403"/>
            <a:ext cx="2820387" cy="1152077"/>
            <a:chOff x="875972" y="5046403"/>
            <a:chExt cx="2820387" cy="1152077"/>
          </a:xfrm>
        </p:grpSpPr>
        <p:sp>
          <p:nvSpPr>
            <p:cNvPr id="30" name="Google Shape;329;p15"/>
            <p:cNvSpPr txBox="1"/>
            <p:nvPr/>
          </p:nvSpPr>
          <p:spPr>
            <a:xfrm>
              <a:off x="1777908" y="5046403"/>
              <a:ext cx="1918451" cy="11520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1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ANSCHRIFT</a:t>
              </a: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5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IPBS Studenten der ESB e.V. </a:t>
              </a:r>
              <a:endPara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5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Hochschule Reutlingen</a:t>
              </a: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5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Alteburgstraße</a:t>
              </a:r>
              <a:r>
                <a:rPr lang="de-DE" sz="105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 150,</a:t>
              </a: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05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72762 Reutlingen</a:t>
              </a:r>
              <a:endParaRPr sz="10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endParaRPr>
            </a:p>
          </p:txBody>
        </p:sp>
        <p:pic>
          <p:nvPicPr>
            <p:cNvPr id="16" name="Gráfico 15" descr="Buzón de correo">
              <a:extLst>
                <a:ext uri="{FF2B5EF4-FFF2-40B4-BE49-F238E27FC236}">
                  <a16:creationId xmlns:a16="http://schemas.microsoft.com/office/drawing/2014/main" id="{6140A808-4249-4589-A7DC-4D89E1ADB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75972" y="5230087"/>
              <a:ext cx="784709" cy="784709"/>
            </a:xfrm>
            <a:prstGeom prst="rect">
              <a:avLst/>
            </a:prstGeom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7D4B002-2E86-7640-AADC-22061975DBC1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C9A8A862-4E91-7C45-8AEF-C9BD7C290F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12"/>
              <a:tile tx="0" ty="0" sx="100000" sy="100000" flip="none" algn="tl"/>
            </a:blipFill>
          </p:spPr>
        </p:pic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04118DA4-6FC2-D143-936A-DF2C68203C70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71511974-63B8-0E4F-AA1F-7D32295BF808}"/>
              </a:ext>
            </a:extLst>
          </p:cNvPr>
          <p:cNvSpPr txBox="1"/>
          <p:nvPr/>
        </p:nvSpPr>
        <p:spPr>
          <a:xfrm>
            <a:off x="5469191" y="3849934"/>
            <a:ext cx="1476000" cy="875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050" b="1" dirty="0"/>
              <a:t>Louis Vaillant</a:t>
            </a:r>
          </a:p>
          <a:p>
            <a:pPr algn="ctr"/>
            <a:r>
              <a:rPr lang="de-DE" sz="1050" dirty="0" err="1"/>
              <a:t>Finance</a:t>
            </a:r>
            <a:endParaRPr lang="de-DE" sz="1050" dirty="0"/>
          </a:p>
          <a:p>
            <a:pPr algn="ctr"/>
            <a:r>
              <a:rPr lang="de-DE" sz="1050" dirty="0">
                <a:solidFill>
                  <a:schemeClr val="bg1"/>
                </a:solidFill>
              </a:rPr>
              <a:t>d</a:t>
            </a:r>
          </a:p>
          <a:p>
            <a:pPr>
              <a:lnSpc>
                <a:spcPct val="150000"/>
              </a:lnSpc>
            </a:pPr>
            <a:r>
              <a:rPr lang="de-DE" sz="1050" dirty="0"/>
              <a:t>Tel.  +49 1772998717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F7A05BA4-A0EF-8546-9512-2794A8621068}"/>
              </a:ext>
            </a:extLst>
          </p:cNvPr>
          <p:cNvSpPr txBox="1"/>
          <p:nvPr/>
        </p:nvSpPr>
        <p:spPr>
          <a:xfrm>
            <a:off x="3122687" y="3849934"/>
            <a:ext cx="1476000" cy="875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050" b="1" dirty="0"/>
              <a:t>Sofia Schwartz</a:t>
            </a:r>
          </a:p>
          <a:p>
            <a:pPr algn="ctr"/>
            <a:r>
              <a:rPr lang="de-DE" sz="1050" dirty="0"/>
              <a:t>Sponsoring &amp; Partner Development</a:t>
            </a:r>
          </a:p>
          <a:p>
            <a:pPr>
              <a:lnSpc>
                <a:spcPct val="150000"/>
              </a:lnSpc>
            </a:pPr>
            <a:r>
              <a:rPr lang="de-DE" sz="1050" dirty="0"/>
              <a:t>Tel.  +49 15789712717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1DC8ACF-75EA-AD40-AE19-52897B59AED4}"/>
              </a:ext>
            </a:extLst>
          </p:cNvPr>
          <p:cNvSpPr txBox="1"/>
          <p:nvPr/>
        </p:nvSpPr>
        <p:spPr>
          <a:xfrm>
            <a:off x="812183" y="3849934"/>
            <a:ext cx="1440000" cy="875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050" b="1" dirty="0"/>
              <a:t>Alina Hohenstein</a:t>
            </a:r>
          </a:p>
          <a:p>
            <a:pPr algn="ctr"/>
            <a:r>
              <a:rPr lang="de-DE" sz="1050" dirty="0"/>
              <a:t>Sponsoring &amp; Partner Development</a:t>
            </a:r>
          </a:p>
          <a:p>
            <a:pPr>
              <a:lnSpc>
                <a:spcPct val="150000"/>
              </a:lnSpc>
            </a:pPr>
            <a:r>
              <a:rPr lang="de-DE" sz="1050" dirty="0"/>
              <a:t>Tel. +49 1604022259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A927F3D1-5579-564F-94CD-FB8CA6520E27}"/>
              </a:ext>
            </a:extLst>
          </p:cNvPr>
          <p:cNvSpPr txBox="1"/>
          <p:nvPr/>
        </p:nvSpPr>
        <p:spPr>
          <a:xfrm>
            <a:off x="7815695" y="3849934"/>
            <a:ext cx="1440000" cy="875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050" b="1" dirty="0"/>
              <a:t>Nicolas </a:t>
            </a:r>
            <a:r>
              <a:rPr lang="de-DE" sz="1050" b="1" dirty="0" err="1"/>
              <a:t>Brinck</a:t>
            </a:r>
            <a:endParaRPr lang="de-DE" sz="1050" b="1" dirty="0"/>
          </a:p>
          <a:p>
            <a:pPr algn="ctr"/>
            <a:r>
              <a:rPr lang="de-DE" sz="1050" dirty="0"/>
              <a:t>Eventplanung</a:t>
            </a:r>
          </a:p>
          <a:p>
            <a:pPr algn="ctr"/>
            <a:r>
              <a:rPr lang="de-DE" sz="1050" dirty="0">
                <a:solidFill>
                  <a:schemeClr val="bg1"/>
                </a:solidFill>
              </a:rPr>
              <a:t>d</a:t>
            </a:r>
          </a:p>
          <a:p>
            <a:pPr>
              <a:lnSpc>
                <a:spcPct val="150000"/>
              </a:lnSpc>
            </a:pPr>
            <a:r>
              <a:rPr lang="de-DE" sz="1050" dirty="0"/>
              <a:t>Tel. +49 17627728569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C29FDD2-9AB0-AB4A-8AF9-59DED58FBDEA}"/>
              </a:ext>
            </a:extLst>
          </p:cNvPr>
          <p:cNvSpPr txBox="1"/>
          <p:nvPr/>
        </p:nvSpPr>
        <p:spPr>
          <a:xfrm>
            <a:off x="10126200" y="3849934"/>
            <a:ext cx="1440000" cy="875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050" b="1" dirty="0"/>
              <a:t>Luisa Strasser</a:t>
            </a:r>
          </a:p>
          <a:p>
            <a:pPr algn="ctr"/>
            <a:r>
              <a:rPr lang="de-DE" sz="1050" dirty="0"/>
              <a:t>Communications</a:t>
            </a:r>
          </a:p>
          <a:p>
            <a:pPr algn="ctr"/>
            <a:r>
              <a:rPr lang="de-DE" sz="1050" dirty="0">
                <a:solidFill>
                  <a:schemeClr val="bg1"/>
                </a:solidFill>
              </a:rPr>
              <a:t>d</a:t>
            </a:r>
          </a:p>
          <a:p>
            <a:pPr>
              <a:lnSpc>
                <a:spcPct val="150000"/>
              </a:lnSpc>
            </a:pPr>
            <a:r>
              <a:rPr lang="de-DE" sz="1050" dirty="0"/>
              <a:t>Tel. +34 658626406</a:t>
            </a:r>
          </a:p>
        </p:txBody>
      </p:sp>
      <p:pic>
        <p:nvPicPr>
          <p:cNvPr id="12291" name="Picture 3">
            <a:extLst>
              <a:ext uri="{FF2B5EF4-FFF2-40B4-BE49-F238E27FC236}">
                <a16:creationId xmlns:a16="http://schemas.microsoft.com/office/drawing/2014/main" id="{6008C611-4E23-C041-A65F-CB14E669F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4" r="9284"/>
          <a:stretch/>
        </p:blipFill>
        <p:spPr bwMode="auto">
          <a:xfrm>
            <a:off x="3122285" y="1879163"/>
            <a:ext cx="1465792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0DE03F9-41AB-9D40-854C-3C0E203533E9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6" r="8696"/>
          <a:stretch/>
        </p:blipFill>
        <p:spPr>
          <a:xfrm>
            <a:off x="7742653" y="1879163"/>
            <a:ext cx="1486940" cy="180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B7D8BF2-6DB3-454C-8F6B-8D77D4D6B99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6" r="14986"/>
          <a:stretch/>
        </p:blipFill>
        <p:spPr>
          <a:xfrm>
            <a:off x="5516949" y="1876834"/>
            <a:ext cx="1263778" cy="1804658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A57531F-2B80-C744-B920-6F7683BA67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69186" y="1877964"/>
            <a:ext cx="1802399" cy="1802399"/>
          </a:xfrm>
          <a:prstGeom prst="rect">
            <a:avLst/>
          </a:prstGeom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47CB7E54-1648-7451-0F26-FE348C9B6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4" r="9284"/>
          <a:stretch/>
        </p:blipFill>
        <p:spPr bwMode="auto">
          <a:xfrm>
            <a:off x="812183" y="1879163"/>
            <a:ext cx="1465792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A0A14ADF-CA22-6E4B-8135-1109F2FD68B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79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46;p5">
            <a:extLst>
              <a:ext uri="{FF2B5EF4-FFF2-40B4-BE49-F238E27FC236}">
                <a16:creationId xmlns:a16="http://schemas.microsoft.com/office/drawing/2014/main" id="{01BEED23-C2F3-9040-90A1-E333E34ACF40}"/>
              </a:ext>
            </a:extLst>
          </p:cNvPr>
          <p:cNvSpPr txBox="1">
            <a:spLocks/>
          </p:cNvSpPr>
          <p:nvPr/>
        </p:nvSpPr>
        <p:spPr>
          <a:xfrm>
            <a:off x="334963" y="5046403"/>
            <a:ext cx="11522075" cy="1224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30000"/>
              </a:lnSpc>
              <a:spcBef>
                <a:spcPts val="0"/>
              </a:spcBef>
              <a:buClr>
                <a:schemeClr val="dk1"/>
              </a:buClr>
              <a:buSzPts val="1400"/>
              <a:buNone/>
            </a:pPr>
            <a:r>
              <a:rPr lang="de-DE" sz="16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Arial"/>
              </a:rPr>
              <a:t>Die ESB Cycling </a:t>
            </a:r>
            <a:r>
              <a:rPr lang="de-DE" sz="1600" dirty="0" err="1">
                <a:solidFill>
                  <a:schemeClr val="bg1"/>
                </a:solidFill>
                <a:latin typeface="Open Sans"/>
                <a:ea typeface="Open Sans"/>
                <a:cs typeface="Open Sans"/>
                <a:sym typeface="Arial"/>
              </a:rPr>
              <a:t>for</a:t>
            </a:r>
            <a:r>
              <a:rPr lang="de-DE" sz="16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Arial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Open Sans"/>
                <a:ea typeface="Open Sans"/>
                <a:cs typeface="Open Sans"/>
                <a:sym typeface="Arial"/>
              </a:rPr>
              <a:t>Charity</a:t>
            </a:r>
            <a:r>
              <a:rPr lang="de-DE" sz="16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Arial"/>
              </a:rPr>
              <a:t> Spendenradtour 2022/23 braucht starke Partner, die sich engagieren und gemeinsam mit uns helfen, Kindern eine bessere Zukunft zu bieten. </a:t>
            </a:r>
            <a:endParaRPr lang="de-DE" sz="16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8" name="Google Shape;51;p5">
            <a:extLst>
              <a:ext uri="{FF2B5EF4-FFF2-40B4-BE49-F238E27FC236}">
                <a16:creationId xmlns:a16="http://schemas.microsoft.com/office/drawing/2014/main" id="{49D408B5-ACA6-6445-B629-BA5055A3EB9C}"/>
              </a:ext>
            </a:extLst>
          </p:cNvPr>
          <p:cNvSpPr txBox="1"/>
          <p:nvPr/>
        </p:nvSpPr>
        <p:spPr>
          <a:xfrm>
            <a:off x="2328013" y="1779897"/>
            <a:ext cx="9529025" cy="2349283"/>
          </a:xfrm>
          <a:prstGeom prst="rect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45700" rIns="2880000" bIns="45700" anchor="ctr" anchorCtr="0">
            <a:noAutofit/>
          </a:bodyPr>
          <a:lstStyle/>
          <a:p>
            <a:pPr lvl="0"/>
            <a:r>
              <a:rPr lang="en-IE" b="1" dirty="0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IPBS </a:t>
            </a:r>
            <a:r>
              <a:rPr lang="en-IE" b="1" dirty="0" err="1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Studenten</a:t>
            </a:r>
            <a:r>
              <a:rPr lang="en-IE" b="1" dirty="0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 der ESB </a:t>
            </a:r>
            <a:r>
              <a:rPr lang="en-IE" b="1" dirty="0" err="1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e.V</a:t>
            </a:r>
            <a:r>
              <a:rPr lang="en-IE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lvl="0"/>
            <a:endParaRPr lang="en-IE" dirty="0">
              <a:solidFill>
                <a:schemeClr val="tx2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/>
            <a:r>
              <a:rPr lang="en-IE" b="1" dirty="0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IBAN</a:t>
            </a:r>
            <a:r>
              <a:rPr lang="en-IE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DE 31 6405 0000 0100 0240 03</a:t>
            </a:r>
          </a:p>
          <a:p>
            <a:pPr lvl="0"/>
            <a:endParaRPr lang="en-IE" dirty="0">
              <a:solidFill>
                <a:schemeClr val="tx2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/>
            <a:r>
              <a:rPr lang="en-IE" b="1" dirty="0" err="1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Spenden-Stichwort</a:t>
            </a:r>
            <a:r>
              <a:rPr lang="en-IE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ESB Cycling for Charity 2022/23</a:t>
            </a:r>
          </a:p>
          <a:p>
            <a:pPr lvl="0"/>
            <a:endParaRPr lang="en-IE" dirty="0">
              <a:solidFill>
                <a:schemeClr val="tx2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/>
            <a:r>
              <a:rPr lang="en-IE" b="1" dirty="0">
                <a:solidFill>
                  <a:schemeClr val="tx2">
                    <a:lumMod val="75000"/>
                  </a:schemeClr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BIC</a:t>
            </a:r>
            <a:r>
              <a:rPr lang="en-IE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SOLADES1REU</a:t>
            </a:r>
          </a:p>
        </p:txBody>
      </p:sp>
      <p:sp>
        <p:nvSpPr>
          <p:cNvPr id="3" name="Rechteck 2"/>
          <p:cNvSpPr/>
          <p:nvPr/>
        </p:nvSpPr>
        <p:spPr>
          <a:xfrm>
            <a:off x="334963" y="1778613"/>
            <a:ext cx="1887376" cy="235056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12000" rtlCol="0" anchor="t"/>
          <a:lstStyle/>
          <a:p>
            <a:pPr algn="ctr"/>
            <a:r>
              <a:rPr lang="de-DE" b="1">
                <a:latin typeface="Open Sans" panose="020B0606030504020204"/>
              </a:rPr>
              <a:t>Spendenkonto</a:t>
            </a:r>
          </a:p>
        </p:txBody>
      </p:sp>
      <p:sp>
        <p:nvSpPr>
          <p:cNvPr id="5" name="Herz 4"/>
          <p:cNvSpPr/>
          <p:nvPr/>
        </p:nvSpPr>
        <p:spPr>
          <a:xfrm>
            <a:off x="925827" y="2919310"/>
            <a:ext cx="619125" cy="590550"/>
          </a:xfrm>
          <a:prstGeom prst="hear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3D0D6B78-4D4C-43EB-986A-C849EA864D0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7675" y="1788210"/>
            <a:ext cx="2968131" cy="2336400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</p:pic>
      <p:sp>
        <p:nvSpPr>
          <p:cNvPr id="13" name="Google Shape;45;p5">
            <a:extLst>
              <a:ext uri="{FF2B5EF4-FFF2-40B4-BE49-F238E27FC236}">
                <a16:creationId xmlns:a16="http://schemas.microsoft.com/office/drawing/2014/main" id="{866704EE-191E-4655-9366-CC059B3D66CB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Vielen Dank für Ihre Unterstützung!</a:t>
            </a:r>
          </a:p>
        </p:txBody>
      </p:sp>
      <p:sp>
        <p:nvSpPr>
          <p:cNvPr id="19" name="Rechteck 39">
            <a:extLst>
              <a:ext uri="{FF2B5EF4-FFF2-40B4-BE49-F238E27FC236}">
                <a16:creationId xmlns:a16="http://schemas.microsoft.com/office/drawing/2014/main" id="{BA739DD8-CB5C-4672-9E61-DDFA7B242767}"/>
              </a:ext>
            </a:extLst>
          </p:cNvPr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  | 11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95ABEB6-EE8E-1749-B1EA-FBD92E419890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3D46A09E-9D93-6D43-963B-BC47B45F80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8"/>
              <a:tile tx="0" ty="0" sx="100000" sy="100000" flip="none" algn="tl"/>
            </a:blipFill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23CF5A6A-4924-0B4A-86FA-A13955DC2A4E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17" name="Grafik 1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06B85C74-511D-0942-AC7D-9C5481BE14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64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122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2</a:t>
            </a:r>
          </a:p>
        </p:txBody>
      </p:sp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 dirty="0">
                <a:solidFill>
                  <a:srgbClr val="002060"/>
                </a:solidFill>
                <a:latin typeface="Open Sans"/>
                <a:ea typeface="Open Sans"/>
                <a:cs typeface="Arial"/>
                <a:sym typeface="Avenir"/>
              </a:rPr>
              <a:t>Die ESB Cycling </a:t>
            </a:r>
            <a:r>
              <a:rPr lang="de-DE" sz="2400" dirty="0" err="1">
                <a:solidFill>
                  <a:srgbClr val="002060"/>
                </a:solidFill>
                <a:latin typeface="Open Sans"/>
                <a:ea typeface="Open Sans"/>
                <a:cs typeface="Arial"/>
                <a:sym typeface="Avenir"/>
              </a:rPr>
              <a:t>for</a:t>
            </a:r>
            <a:r>
              <a:rPr lang="de-DE" sz="2400" dirty="0">
                <a:solidFill>
                  <a:srgbClr val="002060"/>
                </a:solidFill>
                <a:latin typeface="Open Sans"/>
                <a:ea typeface="Open Sans"/>
                <a:cs typeface="Arial"/>
                <a:sym typeface="Avenir"/>
              </a:rPr>
              <a:t> </a:t>
            </a:r>
            <a:r>
              <a:rPr lang="de-DE" sz="2400" dirty="0" err="1">
                <a:solidFill>
                  <a:srgbClr val="002060"/>
                </a:solidFill>
                <a:latin typeface="Open Sans"/>
                <a:ea typeface="Open Sans"/>
                <a:cs typeface="Arial"/>
                <a:sym typeface="Avenir"/>
              </a:rPr>
              <a:t>Charity</a:t>
            </a:r>
            <a:r>
              <a:rPr lang="de-DE" sz="2400" dirty="0">
                <a:solidFill>
                  <a:srgbClr val="002060"/>
                </a:solidFill>
                <a:latin typeface="Open Sans"/>
                <a:ea typeface="Open Sans"/>
                <a:cs typeface="Arial"/>
                <a:sym typeface="Avenir"/>
              </a:rPr>
              <a:t> Spendenradtour 2022/23 </a:t>
            </a:r>
            <a:endParaRPr lang="de-DE" sz="2400" dirty="0">
              <a:solidFill>
                <a:srgbClr val="002060"/>
              </a:solidFill>
              <a:latin typeface="Open Sans"/>
              <a:ea typeface="Open Sans"/>
              <a:cs typeface="Arial"/>
            </a:endParaRPr>
          </a:p>
        </p:txBody>
      </p:sp>
      <p:sp>
        <p:nvSpPr>
          <p:cNvPr id="25" name="Google Shape;46;p5">
            <a:extLst>
              <a:ext uri="{FF2B5EF4-FFF2-40B4-BE49-F238E27FC236}">
                <a16:creationId xmlns:a16="http://schemas.microsoft.com/office/drawing/2014/main" id="{7D33611A-C7CF-5E4E-A41A-515ECC827AAE}"/>
              </a:ext>
            </a:extLst>
          </p:cNvPr>
          <p:cNvSpPr txBox="1">
            <a:spLocks/>
          </p:cNvSpPr>
          <p:nvPr/>
        </p:nvSpPr>
        <p:spPr>
          <a:xfrm>
            <a:off x="334962" y="1517407"/>
            <a:ext cx="11457737" cy="72949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Clr>
                <a:schemeClr val="dk1"/>
              </a:buClr>
              <a:buSzPts val="1400"/>
              <a:buNone/>
            </a:pPr>
            <a:r>
              <a:rPr lang="de-DE" sz="1600" dirty="0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Arial"/>
              </a:rPr>
              <a:t>Zum 20</a:t>
            </a:r>
            <a:r>
              <a:rPr lang="de-DE" sz="1600" dirty="0">
                <a:latin typeface="Open Sans Light"/>
                <a:ea typeface="Open Sans Light"/>
                <a:cs typeface="Open Sans Light"/>
                <a:sym typeface="Arial"/>
              </a:rPr>
              <a:t>.</a:t>
            </a:r>
            <a:r>
              <a:rPr lang="de-DE" sz="1600" dirty="0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Arial"/>
              </a:rPr>
              <a:t> Mal in Folge veranstalten wir, die Studierenden des Studiengangs International Management Double Degree (IMX) der ESB Business School Reutlingen, die </a:t>
            </a:r>
            <a:r>
              <a:rPr lang="de-DE" sz="16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ESB Cycling </a:t>
            </a:r>
            <a:r>
              <a:rPr lang="de-DE" sz="1600" b="1" dirty="0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for</a:t>
            </a:r>
            <a:r>
              <a:rPr lang="de-DE" sz="16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 </a:t>
            </a:r>
            <a:r>
              <a:rPr lang="de-DE" sz="1600" b="1" dirty="0" err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Charity</a:t>
            </a:r>
            <a:r>
              <a:rPr lang="de-DE" sz="16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 Spendenradtour</a:t>
            </a:r>
            <a:r>
              <a:rPr lang="de-DE" sz="16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Arial"/>
              </a:rPr>
              <a:t>.</a:t>
            </a:r>
          </a:p>
        </p:txBody>
      </p:sp>
      <p:grpSp>
        <p:nvGrpSpPr>
          <p:cNvPr id="45" name="Group 26">
            <a:extLst>
              <a:ext uri="{FF2B5EF4-FFF2-40B4-BE49-F238E27FC236}">
                <a16:creationId xmlns:a16="http://schemas.microsoft.com/office/drawing/2014/main" id="{1AA689D8-CD02-EC43-B2A8-027BA4DF7361}"/>
              </a:ext>
            </a:extLst>
          </p:cNvPr>
          <p:cNvGrpSpPr/>
          <p:nvPr/>
        </p:nvGrpSpPr>
        <p:grpSpPr>
          <a:xfrm>
            <a:off x="334963" y="2587926"/>
            <a:ext cx="11199812" cy="3727148"/>
            <a:chOff x="345830" y="3277381"/>
            <a:chExt cx="4999893" cy="3041357"/>
          </a:xfrm>
        </p:grpSpPr>
        <p:sp>
          <p:nvSpPr>
            <p:cNvPr id="46" name="Google Shape;51;p5">
              <a:extLst>
                <a:ext uri="{FF2B5EF4-FFF2-40B4-BE49-F238E27FC236}">
                  <a16:creationId xmlns:a16="http://schemas.microsoft.com/office/drawing/2014/main" id="{5B8D0E70-FC12-8446-A3F8-13FAB0CA5650}"/>
                </a:ext>
              </a:extLst>
            </p:cNvPr>
            <p:cNvSpPr txBox="1"/>
            <p:nvPr/>
          </p:nvSpPr>
          <p:spPr>
            <a:xfrm>
              <a:off x="395288" y="3558805"/>
              <a:ext cx="4877893" cy="74725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/>
              <a:r>
                <a:rPr lang="de-DE" sz="1400" kern="0" dirty="0">
                  <a:latin typeface="Open Sans"/>
                  <a:ea typeface="Open Sans"/>
                  <a:cs typeface="Open Sans"/>
                  <a:sym typeface="Arial"/>
                </a:rPr>
                <a:t>2-wöchige Fahrradtour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 </a:t>
              </a:r>
              <a:r>
                <a:rPr lang="de-DE" sz="1400" kern="0" dirty="0">
                  <a:latin typeface="Open Sans"/>
                  <a:ea typeface="Open Sans"/>
                  <a:cs typeface="Open Sans"/>
                  <a:sym typeface="Arial"/>
                </a:rPr>
                <a:t>über ca. 1.300 km im</a:t>
              </a:r>
              <a:r>
                <a:rPr kumimoji="0" lang="de-DE" sz="1400" b="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 </a:t>
              </a:r>
              <a:r>
                <a:rPr lang="de-DE" sz="1400" kern="0" dirty="0">
                  <a:latin typeface="Open Sans"/>
                  <a:ea typeface="Open Sans"/>
                  <a:cs typeface="Open Sans"/>
                  <a:sym typeface="Arial"/>
                </a:rPr>
                <a:t>März 2023, von Reutlingen über Frankreich nach Spanien</a:t>
              </a:r>
              <a:endParaRPr kumimoji="0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7" name="Google Shape;52;p5">
              <a:extLst>
                <a:ext uri="{FF2B5EF4-FFF2-40B4-BE49-F238E27FC236}">
                  <a16:creationId xmlns:a16="http://schemas.microsoft.com/office/drawing/2014/main" id="{4C585831-BFD3-7248-8FE5-48FD1581F5E9}"/>
                </a:ext>
              </a:extLst>
            </p:cNvPr>
            <p:cNvSpPr txBox="1"/>
            <p:nvPr/>
          </p:nvSpPr>
          <p:spPr>
            <a:xfrm>
              <a:off x="395287" y="4454936"/>
              <a:ext cx="4877893" cy="80034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/>
              <a:r>
                <a:rPr lang="de-DE" sz="1400" kern="0">
                  <a:latin typeface="Open Sans"/>
                  <a:ea typeface="Open Sans"/>
                  <a:cs typeface="Open Sans"/>
                  <a:sym typeface="Arial"/>
                </a:rPr>
                <a:t>25</a:t>
              </a: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 Studenten der ESB Business School</a:t>
              </a:r>
              <a:r>
                <a:rPr lang="de-DE" sz="1400" kern="0" noProof="0">
                  <a:latin typeface="Open Sans"/>
                  <a:ea typeface="Open Sans"/>
                  <a:cs typeface="Open Sans"/>
                  <a:sym typeface="Arial"/>
                </a:rPr>
                <a:t>, </a:t>
              </a: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Fahrräder und Begleitfahrzeuge</a:t>
              </a:r>
              <a:endParaRPr lang="de-DE" kern="0"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49" name="Google Shape;54;p5">
              <a:extLst>
                <a:ext uri="{FF2B5EF4-FFF2-40B4-BE49-F238E27FC236}">
                  <a16:creationId xmlns:a16="http://schemas.microsoft.com/office/drawing/2014/main" id="{005BCF33-FBAC-9948-8D66-0AA70C46BF56}"/>
                </a:ext>
              </a:extLst>
            </p:cNvPr>
            <p:cNvSpPr txBox="1"/>
            <p:nvPr/>
          </p:nvSpPr>
          <p:spPr>
            <a:xfrm>
              <a:off x="395288" y="5411941"/>
              <a:ext cx="4877893" cy="77466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Spendensumme von über </a:t>
              </a:r>
              <a:r>
                <a:rPr lang="de-DE" sz="1400" kern="0" dirty="0">
                  <a:latin typeface="Open Sans"/>
                  <a:ea typeface="Open Sans"/>
                  <a:cs typeface="Open Sans"/>
                  <a:sym typeface="Arial"/>
                </a:rPr>
                <a:t>31.000 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EUR im letzten Jahr –</a:t>
              </a:r>
              <a:r>
                <a:rPr lang="de-DE" sz="1400" kern="0" dirty="0">
                  <a:latin typeface="Open Sans"/>
                  <a:ea typeface="Open Sans"/>
                  <a:cs typeface="Open Sans"/>
                  <a:sym typeface="Arial"/>
                </a:rPr>
                <a:t> 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"/>
                  <a:ea typeface="Open Sans"/>
                  <a:cs typeface="Open Sans"/>
                  <a:sym typeface="Arial"/>
                </a:rPr>
                <a:t>um Kindern eine bessere Zukunft zu bieten</a:t>
              </a:r>
              <a:endParaRPr kumimoji="0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50" name="Rectangle 1">
              <a:extLst>
                <a:ext uri="{FF2B5EF4-FFF2-40B4-BE49-F238E27FC236}">
                  <a16:creationId xmlns:a16="http://schemas.microsoft.com/office/drawing/2014/main" id="{F150272F-806F-DE4E-9D7F-77EB3FFC75F3}"/>
                </a:ext>
              </a:extLst>
            </p:cNvPr>
            <p:cNvSpPr/>
            <p:nvPr/>
          </p:nvSpPr>
          <p:spPr>
            <a:xfrm>
              <a:off x="345830" y="3406006"/>
              <a:ext cx="4999893" cy="2912732"/>
            </a:xfrm>
            <a:prstGeom prst="rect">
              <a:avLst/>
            </a:prstGeom>
            <a:noFill/>
            <a:ln w="19050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Google Shape;46;p5">
              <a:extLst>
                <a:ext uri="{FF2B5EF4-FFF2-40B4-BE49-F238E27FC236}">
                  <a16:creationId xmlns:a16="http://schemas.microsoft.com/office/drawing/2014/main" id="{426EA9FB-29C5-124E-92BB-FE2FA6FC1AE4}"/>
                </a:ext>
              </a:extLst>
            </p:cNvPr>
            <p:cNvSpPr txBox="1">
              <a:spLocks/>
            </p:cNvSpPr>
            <p:nvPr/>
          </p:nvSpPr>
          <p:spPr>
            <a:xfrm>
              <a:off x="395287" y="3277381"/>
              <a:ext cx="761268" cy="227792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vert="horz" wrap="square" lIns="36000" tIns="0" rIns="36000" bIns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Key</a:t>
              </a:r>
              <a:r>
                <a:rPr kumimoji="0" lang="de-DE" sz="14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 Facts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CC27972-3D20-BF42-8B11-4CCFA5AE5896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BF1AF95-4E5F-2947-B2E0-B907E6062A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6"/>
              <a:tile tx="0" ty="0" sx="100000" sy="100000" flip="none" algn="tl"/>
            </a:blipFill>
          </p:spPr>
        </p:pic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F5660F3A-C5FA-DA43-B04A-C5DEB54D2F9B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16" name="Grafik 1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FB8E7657-9490-C742-9B3C-9645547FC0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475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2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  <a:buFont typeface="Avenir"/>
              <a:buNone/>
            </a:pPr>
            <a:r>
              <a:rPr lang="de-DE" sz="2400">
                <a:solidFill>
                  <a:srgbClr val="002060"/>
                </a:solidFill>
                <a:latin typeface="Open Sans" panose="020B0606030504020204"/>
                <a:ea typeface="Open Sans" panose="020B0606030504020204" pitchFamily="34" charset="0"/>
                <a:cs typeface="Arial" panose="020B0604020202020204" pitchFamily="34" charset="0"/>
                <a:sym typeface="Avenir"/>
              </a:rPr>
              <a:t>Zielsetzung und Hintergrund von ESB Cycling for Charity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5D53AA0-103B-4C4C-880A-CEC591F63049}"/>
              </a:ext>
            </a:extLst>
          </p:cNvPr>
          <p:cNvGrpSpPr/>
          <p:nvPr/>
        </p:nvGrpSpPr>
        <p:grpSpPr>
          <a:xfrm>
            <a:off x="255851" y="1489498"/>
            <a:ext cx="11601187" cy="1013492"/>
            <a:chOff x="255851" y="1489498"/>
            <a:chExt cx="11601187" cy="1013492"/>
          </a:xfrm>
        </p:grpSpPr>
        <p:sp>
          <p:nvSpPr>
            <p:cNvPr id="26" name="Google Shape;51;p5">
              <a:extLst>
                <a:ext uri="{FF2B5EF4-FFF2-40B4-BE49-F238E27FC236}">
                  <a16:creationId xmlns:a16="http://schemas.microsoft.com/office/drawing/2014/main" id="{A7988280-0B20-6142-9B67-352862C01CA9}"/>
                </a:ext>
              </a:extLst>
            </p:cNvPr>
            <p:cNvSpPr txBox="1"/>
            <p:nvPr/>
          </p:nvSpPr>
          <p:spPr>
            <a:xfrm>
              <a:off x="1774825" y="1489498"/>
              <a:ext cx="10082213" cy="101349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de-DE" sz="1500" b="1" u="none" strike="noStrike" cap="none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Kindern eine bessere Zukunft </a:t>
              </a:r>
              <a:r>
                <a:rPr lang="de-DE" sz="15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ermögliche</a:t>
              </a:r>
              <a:r>
                <a:rPr lang="de-DE" sz="1500" b="1" u="none" strike="noStrike" cap="none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n</a:t>
              </a:r>
              <a:endParaRPr sz="15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" name="Rechteck 2"/>
            <p:cNvSpPr/>
            <p:nvPr/>
          </p:nvSpPr>
          <p:spPr>
            <a:xfrm>
              <a:off x="255851" y="1489498"/>
              <a:ext cx="1339587" cy="1013492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t"/>
            <a:lstStyle/>
            <a:p>
              <a:pPr algn="ctr"/>
              <a:r>
                <a:rPr lang="de-DE" sz="1600" b="1">
                  <a:latin typeface="Open Sans" panose="020B0606030504020204"/>
                </a:rPr>
                <a:t>Ziel</a:t>
              </a:r>
            </a:p>
            <a:p>
              <a:pPr algn="ctr"/>
              <a:endParaRPr lang="de-DE" sz="1600" b="1">
                <a:latin typeface="Open Sans" panose="020B0606030504020204"/>
              </a:endParaRPr>
            </a:p>
          </p:txBody>
        </p:sp>
      </p:grpSp>
      <p:grpSp>
        <p:nvGrpSpPr>
          <p:cNvPr id="55" name="Gruppieren 54"/>
          <p:cNvGrpSpPr>
            <a:grpSpLocks noChangeAspect="1"/>
          </p:cNvGrpSpPr>
          <p:nvPr/>
        </p:nvGrpSpPr>
        <p:grpSpPr>
          <a:xfrm>
            <a:off x="835824" y="1991580"/>
            <a:ext cx="252682" cy="324000"/>
            <a:chOff x="6408891" y="4233827"/>
            <a:chExt cx="661557" cy="645565"/>
          </a:xfrm>
          <a:solidFill>
            <a:schemeClr val="bg1"/>
          </a:solidFill>
        </p:grpSpPr>
        <p:grpSp>
          <p:nvGrpSpPr>
            <p:cNvPr id="56" name="Gruppieren 55"/>
            <p:cNvGrpSpPr/>
            <p:nvPr/>
          </p:nvGrpSpPr>
          <p:grpSpPr>
            <a:xfrm>
              <a:off x="6408891" y="4437074"/>
              <a:ext cx="466290" cy="376736"/>
              <a:chOff x="926417" y="-1011213"/>
              <a:chExt cx="3694923" cy="2985286"/>
            </a:xfrm>
            <a:grpFill/>
          </p:grpSpPr>
          <p:sp>
            <p:nvSpPr>
              <p:cNvPr id="61" name="Freihandform 60"/>
              <p:cNvSpPr/>
              <p:nvPr/>
            </p:nvSpPr>
            <p:spPr>
              <a:xfrm>
                <a:off x="926417" y="-1011213"/>
                <a:ext cx="3694923" cy="2985286"/>
              </a:xfrm>
              <a:custGeom>
                <a:avLst/>
                <a:gdLst>
                  <a:gd name="connsiteX0" fmla="*/ 0 w 3694923"/>
                  <a:gd name="connsiteY0" fmla="*/ 2789853 h 3200400"/>
                  <a:gd name="connsiteX1" fmla="*/ 1427584 w 3694923"/>
                  <a:gd name="connsiteY1" fmla="*/ 494522 h 3200400"/>
                  <a:gd name="connsiteX2" fmla="*/ 1688841 w 3694923"/>
                  <a:gd name="connsiteY2" fmla="*/ 74645 h 3200400"/>
                  <a:gd name="connsiteX3" fmla="*/ 1828800 w 3694923"/>
                  <a:gd name="connsiteY3" fmla="*/ 0 h 3200400"/>
                  <a:gd name="connsiteX4" fmla="*/ 1987421 w 3694923"/>
                  <a:gd name="connsiteY4" fmla="*/ 65314 h 3200400"/>
                  <a:gd name="connsiteX5" fmla="*/ 3694923 w 3694923"/>
                  <a:gd name="connsiteY5" fmla="*/ 2855167 h 3200400"/>
                  <a:gd name="connsiteX6" fmla="*/ 2313992 w 3694923"/>
                  <a:gd name="connsiteY6" fmla="*/ 3200400 h 3200400"/>
                  <a:gd name="connsiteX7" fmla="*/ 0 w 3694923"/>
                  <a:gd name="connsiteY7" fmla="*/ 2789853 h 3200400"/>
                  <a:gd name="connsiteX0" fmla="*/ 0 w 3694923"/>
                  <a:gd name="connsiteY0" fmla="*/ 2791479 h 3202026"/>
                  <a:gd name="connsiteX1" fmla="*/ 1427584 w 3694923"/>
                  <a:gd name="connsiteY1" fmla="*/ 496148 h 3202026"/>
                  <a:gd name="connsiteX2" fmla="*/ 1688841 w 3694923"/>
                  <a:gd name="connsiteY2" fmla="*/ 76271 h 3202026"/>
                  <a:gd name="connsiteX3" fmla="*/ 1828800 w 3694923"/>
                  <a:gd name="connsiteY3" fmla="*/ 1626 h 3202026"/>
                  <a:gd name="connsiteX4" fmla="*/ 1987421 w 3694923"/>
                  <a:gd name="connsiteY4" fmla="*/ 66940 h 3202026"/>
                  <a:gd name="connsiteX5" fmla="*/ 3694923 w 3694923"/>
                  <a:gd name="connsiteY5" fmla="*/ 2856793 h 3202026"/>
                  <a:gd name="connsiteX6" fmla="*/ 2313992 w 3694923"/>
                  <a:gd name="connsiteY6" fmla="*/ 3202026 h 3202026"/>
                  <a:gd name="connsiteX7" fmla="*/ 0 w 3694923"/>
                  <a:gd name="connsiteY7" fmla="*/ 2791479 h 3202026"/>
                  <a:gd name="connsiteX0" fmla="*/ 0 w 3694923"/>
                  <a:gd name="connsiteY0" fmla="*/ 2795224 h 3205771"/>
                  <a:gd name="connsiteX1" fmla="*/ 1427584 w 3694923"/>
                  <a:gd name="connsiteY1" fmla="*/ 499893 h 3205771"/>
                  <a:gd name="connsiteX2" fmla="*/ 1688841 w 3694923"/>
                  <a:gd name="connsiteY2" fmla="*/ 80016 h 3205771"/>
                  <a:gd name="connsiteX3" fmla="*/ 1828800 w 3694923"/>
                  <a:gd name="connsiteY3" fmla="*/ 5371 h 3205771"/>
                  <a:gd name="connsiteX4" fmla="*/ 1987421 w 3694923"/>
                  <a:gd name="connsiteY4" fmla="*/ 70685 h 3205771"/>
                  <a:gd name="connsiteX5" fmla="*/ 3694923 w 3694923"/>
                  <a:gd name="connsiteY5" fmla="*/ 2860538 h 3205771"/>
                  <a:gd name="connsiteX6" fmla="*/ 2313992 w 3694923"/>
                  <a:gd name="connsiteY6" fmla="*/ 3205771 h 3205771"/>
                  <a:gd name="connsiteX7" fmla="*/ 0 w 3694923"/>
                  <a:gd name="connsiteY7" fmla="*/ 2795224 h 3205771"/>
                  <a:gd name="connsiteX0" fmla="*/ 0 w 3694923"/>
                  <a:gd name="connsiteY0" fmla="*/ 2806280 h 3216827"/>
                  <a:gd name="connsiteX1" fmla="*/ 1427584 w 3694923"/>
                  <a:gd name="connsiteY1" fmla="*/ 510949 h 3216827"/>
                  <a:gd name="connsiteX2" fmla="*/ 1688841 w 3694923"/>
                  <a:gd name="connsiteY2" fmla="*/ 91072 h 3216827"/>
                  <a:gd name="connsiteX3" fmla="*/ 1834643 w 3694923"/>
                  <a:gd name="connsiteY3" fmla="*/ 4741 h 3216827"/>
                  <a:gd name="connsiteX4" fmla="*/ 1987421 w 3694923"/>
                  <a:gd name="connsiteY4" fmla="*/ 81741 h 3216827"/>
                  <a:gd name="connsiteX5" fmla="*/ 3694923 w 3694923"/>
                  <a:gd name="connsiteY5" fmla="*/ 2871594 h 3216827"/>
                  <a:gd name="connsiteX6" fmla="*/ 2313992 w 3694923"/>
                  <a:gd name="connsiteY6" fmla="*/ 3216827 h 3216827"/>
                  <a:gd name="connsiteX7" fmla="*/ 0 w 3694923"/>
                  <a:gd name="connsiteY7" fmla="*/ 2806280 h 3216827"/>
                  <a:gd name="connsiteX0" fmla="*/ 0 w 3694923"/>
                  <a:gd name="connsiteY0" fmla="*/ 2801563 h 3212110"/>
                  <a:gd name="connsiteX1" fmla="*/ 1427584 w 3694923"/>
                  <a:gd name="connsiteY1" fmla="*/ 506232 h 3212110"/>
                  <a:gd name="connsiteX2" fmla="*/ 1688841 w 3694923"/>
                  <a:gd name="connsiteY2" fmla="*/ 86355 h 3212110"/>
                  <a:gd name="connsiteX3" fmla="*/ 1834643 w 3694923"/>
                  <a:gd name="connsiteY3" fmla="*/ 24 h 3212110"/>
                  <a:gd name="connsiteX4" fmla="*/ 1987421 w 3694923"/>
                  <a:gd name="connsiteY4" fmla="*/ 77024 h 3212110"/>
                  <a:gd name="connsiteX5" fmla="*/ 3694923 w 3694923"/>
                  <a:gd name="connsiteY5" fmla="*/ 2866877 h 3212110"/>
                  <a:gd name="connsiteX6" fmla="*/ 2313992 w 3694923"/>
                  <a:gd name="connsiteY6" fmla="*/ 3212110 h 3212110"/>
                  <a:gd name="connsiteX7" fmla="*/ 0 w 3694923"/>
                  <a:gd name="connsiteY7" fmla="*/ 2801563 h 3212110"/>
                  <a:gd name="connsiteX0" fmla="*/ 0 w 3694923"/>
                  <a:gd name="connsiteY0" fmla="*/ 2801568 h 3212115"/>
                  <a:gd name="connsiteX1" fmla="*/ 1427584 w 3694923"/>
                  <a:gd name="connsiteY1" fmla="*/ 506237 h 3212115"/>
                  <a:gd name="connsiteX2" fmla="*/ 1688841 w 3694923"/>
                  <a:gd name="connsiteY2" fmla="*/ 86360 h 3212115"/>
                  <a:gd name="connsiteX3" fmla="*/ 1834643 w 3694923"/>
                  <a:gd name="connsiteY3" fmla="*/ 29 h 3212115"/>
                  <a:gd name="connsiteX4" fmla="*/ 1987421 w 3694923"/>
                  <a:gd name="connsiteY4" fmla="*/ 77029 h 3212115"/>
                  <a:gd name="connsiteX5" fmla="*/ 3694923 w 3694923"/>
                  <a:gd name="connsiteY5" fmla="*/ 2866882 h 3212115"/>
                  <a:gd name="connsiteX6" fmla="*/ 2313992 w 3694923"/>
                  <a:gd name="connsiteY6" fmla="*/ 3212115 h 3212115"/>
                  <a:gd name="connsiteX7" fmla="*/ 0 w 3694923"/>
                  <a:gd name="connsiteY7" fmla="*/ 2801568 h 3212115"/>
                  <a:gd name="connsiteX0" fmla="*/ 0 w 3694923"/>
                  <a:gd name="connsiteY0" fmla="*/ 2801568 h 3212115"/>
                  <a:gd name="connsiteX1" fmla="*/ 1427584 w 3694923"/>
                  <a:gd name="connsiteY1" fmla="*/ 506237 h 3212115"/>
                  <a:gd name="connsiteX2" fmla="*/ 1688841 w 3694923"/>
                  <a:gd name="connsiteY2" fmla="*/ 86360 h 3212115"/>
                  <a:gd name="connsiteX3" fmla="*/ 1834643 w 3694923"/>
                  <a:gd name="connsiteY3" fmla="*/ 29 h 3212115"/>
                  <a:gd name="connsiteX4" fmla="*/ 1987421 w 3694923"/>
                  <a:gd name="connsiteY4" fmla="*/ 77029 h 3212115"/>
                  <a:gd name="connsiteX5" fmla="*/ 3694923 w 3694923"/>
                  <a:gd name="connsiteY5" fmla="*/ 2866882 h 3212115"/>
                  <a:gd name="connsiteX6" fmla="*/ 2313992 w 3694923"/>
                  <a:gd name="connsiteY6" fmla="*/ 3212115 h 3212115"/>
                  <a:gd name="connsiteX7" fmla="*/ 0 w 3694923"/>
                  <a:gd name="connsiteY7" fmla="*/ 2801568 h 3212115"/>
                  <a:gd name="connsiteX0" fmla="*/ 0 w 3694923"/>
                  <a:gd name="connsiteY0" fmla="*/ 2801576 h 3212123"/>
                  <a:gd name="connsiteX1" fmla="*/ 1427584 w 3694923"/>
                  <a:gd name="connsiteY1" fmla="*/ 506245 h 3212123"/>
                  <a:gd name="connsiteX2" fmla="*/ 1688841 w 3694923"/>
                  <a:gd name="connsiteY2" fmla="*/ 86368 h 3212123"/>
                  <a:gd name="connsiteX3" fmla="*/ 1834643 w 3694923"/>
                  <a:gd name="connsiteY3" fmla="*/ 37 h 3212123"/>
                  <a:gd name="connsiteX4" fmla="*/ 1987421 w 3694923"/>
                  <a:gd name="connsiteY4" fmla="*/ 77037 h 3212123"/>
                  <a:gd name="connsiteX5" fmla="*/ 3694923 w 3694923"/>
                  <a:gd name="connsiteY5" fmla="*/ 2866890 h 3212123"/>
                  <a:gd name="connsiteX6" fmla="*/ 2313992 w 3694923"/>
                  <a:gd name="connsiteY6" fmla="*/ 3212123 h 3212123"/>
                  <a:gd name="connsiteX7" fmla="*/ 0 w 3694923"/>
                  <a:gd name="connsiteY7" fmla="*/ 2801576 h 3212123"/>
                  <a:gd name="connsiteX0" fmla="*/ 0 w 3694923"/>
                  <a:gd name="connsiteY0" fmla="*/ 2813254 h 3223801"/>
                  <a:gd name="connsiteX1" fmla="*/ 1427584 w 3694923"/>
                  <a:gd name="connsiteY1" fmla="*/ 517923 h 3223801"/>
                  <a:gd name="connsiteX2" fmla="*/ 1688841 w 3694923"/>
                  <a:gd name="connsiteY2" fmla="*/ 98046 h 3223801"/>
                  <a:gd name="connsiteX3" fmla="*/ 1834643 w 3694923"/>
                  <a:gd name="connsiteY3" fmla="*/ 29 h 3223801"/>
                  <a:gd name="connsiteX4" fmla="*/ 1987421 w 3694923"/>
                  <a:gd name="connsiteY4" fmla="*/ 88715 h 3223801"/>
                  <a:gd name="connsiteX5" fmla="*/ 3694923 w 3694923"/>
                  <a:gd name="connsiteY5" fmla="*/ 2878568 h 3223801"/>
                  <a:gd name="connsiteX6" fmla="*/ 2313992 w 3694923"/>
                  <a:gd name="connsiteY6" fmla="*/ 3223801 h 3223801"/>
                  <a:gd name="connsiteX7" fmla="*/ 0 w 3694923"/>
                  <a:gd name="connsiteY7" fmla="*/ 2813254 h 3223801"/>
                  <a:gd name="connsiteX0" fmla="*/ 0 w 3694923"/>
                  <a:gd name="connsiteY0" fmla="*/ 2813250 h 3223797"/>
                  <a:gd name="connsiteX1" fmla="*/ 1427584 w 3694923"/>
                  <a:gd name="connsiteY1" fmla="*/ 517919 h 3223797"/>
                  <a:gd name="connsiteX2" fmla="*/ 1688841 w 3694923"/>
                  <a:gd name="connsiteY2" fmla="*/ 98042 h 3223797"/>
                  <a:gd name="connsiteX3" fmla="*/ 1834643 w 3694923"/>
                  <a:gd name="connsiteY3" fmla="*/ 25 h 3223797"/>
                  <a:gd name="connsiteX4" fmla="*/ 1987421 w 3694923"/>
                  <a:gd name="connsiteY4" fmla="*/ 88711 h 3223797"/>
                  <a:gd name="connsiteX5" fmla="*/ 3694923 w 3694923"/>
                  <a:gd name="connsiteY5" fmla="*/ 2878564 h 3223797"/>
                  <a:gd name="connsiteX6" fmla="*/ 2313992 w 3694923"/>
                  <a:gd name="connsiteY6" fmla="*/ 3223797 h 3223797"/>
                  <a:gd name="connsiteX7" fmla="*/ 0 w 3694923"/>
                  <a:gd name="connsiteY7" fmla="*/ 2813250 h 3223797"/>
                  <a:gd name="connsiteX0" fmla="*/ 0 w 3694923"/>
                  <a:gd name="connsiteY0" fmla="*/ 2813255 h 3223802"/>
                  <a:gd name="connsiteX1" fmla="*/ 1427584 w 3694923"/>
                  <a:gd name="connsiteY1" fmla="*/ 517924 h 3223802"/>
                  <a:gd name="connsiteX2" fmla="*/ 1688841 w 3694923"/>
                  <a:gd name="connsiteY2" fmla="*/ 98047 h 3223802"/>
                  <a:gd name="connsiteX3" fmla="*/ 1834643 w 3694923"/>
                  <a:gd name="connsiteY3" fmla="*/ 30 h 3223802"/>
                  <a:gd name="connsiteX4" fmla="*/ 1987421 w 3694923"/>
                  <a:gd name="connsiteY4" fmla="*/ 88716 h 3223802"/>
                  <a:gd name="connsiteX5" fmla="*/ 3694923 w 3694923"/>
                  <a:gd name="connsiteY5" fmla="*/ 2878569 h 3223802"/>
                  <a:gd name="connsiteX6" fmla="*/ 2313992 w 3694923"/>
                  <a:gd name="connsiteY6" fmla="*/ 3223802 h 3223802"/>
                  <a:gd name="connsiteX7" fmla="*/ 0 w 3694923"/>
                  <a:gd name="connsiteY7" fmla="*/ 2813255 h 3223802"/>
                  <a:gd name="connsiteX0" fmla="*/ 0 w 3694923"/>
                  <a:gd name="connsiteY0" fmla="*/ 2813255 h 3223802"/>
                  <a:gd name="connsiteX1" fmla="*/ 1427584 w 3694923"/>
                  <a:gd name="connsiteY1" fmla="*/ 517924 h 3223802"/>
                  <a:gd name="connsiteX2" fmla="*/ 1688841 w 3694923"/>
                  <a:gd name="connsiteY2" fmla="*/ 98047 h 3223802"/>
                  <a:gd name="connsiteX3" fmla="*/ 1834643 w 3694923"/>
                  <a:gd name="connsiteY3" fmla="*/ 30 h 3223802"/>
                  <a:gd name="connsiteX4" fmla="*/ 1987421 w 3694923"/>
                  <a:gd name="connsiteY4" fmla="*/ 88716 h 3223802"/>
                  <a:gd name="connsiteX5" fmla="*/ 3694923 w 3694923"/>
                  <a:gd name="connsiteY5" fmla="*/ 2878569 h 3223802"/>
                  <a:gd name="connsiteX6" fmla="*/ 2313992 w 3694923"/>
                  <a:gd name="connsiteY6" fmla="*/ 3223802 h 3223802"/>
                  <a:gd name="connsiteX7" fmla="*/ 0 w 3694923"/>
                  <a:gd name="connsiteY7" fmla="*/ 2813255 h 3223802"/>
                  <a:gd name="connsiteX0" fmla="*/ 0 w 3694923"/>
                  <a:gd name="connsiteY0" fmla="*/ 2813255 h 2985286"/>
                  <a:gd name="connsiteX1" fmla="*/ 1427584 w 3694923"/>
                  <a:gd name="connsiteY1" fmla="*/ 517924 h 2985286"/>
                  <a:gd name="connsiteX2" fmla="*/ 1688841 w 3694923"/>
                  <a:gd name="connsiteY2" fmla="*/ 98047 h 2985286"/>
                  <a:gd name="connsiteX3" fmla="*/ 1834643 w 3694923"/>
                  <a:gd name="connsiteY3" fmla="*/ 30 h 2985286"/>
                  <a:gd name="connsiteX4" fmla="*/ 1987421 w 3694923"/>
                  <a:gd name="connsiteY4" fmla="*/ 88716 h 2985286"/>
                  <a:gd name="connsiteX5" fmla="*/ 3694923 w 3694923"/>
                  <a:gd name="connsiteY5" fmla="*/ 2878569 h 2985286"/>
                  <a:gd name="connsiteX6" fmla="*/ 1191564 w 3694923"/>
                  <a:gd name="connsiteY6" fmla="*/ 2985286 h 2985286"/>
                  <a:gd name="connsiteX7" fmla="*/ 0 w 3694923"/>
                  <a:gd name="connsiteY7" fmla="*/ 2813255 h 2985286"/>
                  <a:gd name="connsiteX0" fmla="*/ 0 w 3694923"/>
                  <a:gd name="connsiteY0" fmla="*/ 2813255 h 2985286"/>
                  <a:gd name="connsiteX1" fmla="*/ 1427584 w 3694923"/>
                  <a:gd name="connsiteY1" fmla="*/ 517924 h 2985286"/>
                  <a:gd name="connsiteX2" fmla="*/ 1688841 w 3694923"/>
                  <a:gd name="connsiteY2" fmla="*/ 98047 h 2985286"/>
                  <a:gd name="connsiteX3" fmla="*/ 1834643 w 3694923"/>
                  <a:gd name="connsiteY3" fmla="*/ 30 h 2985286"/>
                  <a:gd name="connsiteX4" fmla="*/ 1987421 w 3694923"/>
                  <a:gd name="connsiteY4" fmla="*/ 88716 h 2985286"/>
                  <a:gd name="connsiteX5" fmla="*/ 3694923 w 3694923"/>
                  <a:gd name="connsiteY5" fmla="*/ 2878569 h 2985286"/>
                  <a:gd name="connsiteX6" fmla="*/ 2255107 w 3694923"/>
                  <a:gd name="connsiteY6" fmla="*/ 2744253 h 2985286"/>
                  <a:gd name="connsiteX7" fmla="*/ 1191564 w 3694923"/>
                  <a:gd name="connsiteY7" fmla="*/ 2985286 h 2985286"/>
                  <a:gd name="connsiteX8" fmla="*/ 0 w 3694923"/>
                  <a:gd name="connsiteY8" fmla="*/ 2813255 h 298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4923" h="2985286">
                    <a:moveTo>
                      <a:pt x="0" y="2813255"/>
                    </a:moveTo>
                    <a:lnTo>
                      <a:pt x="1427584" y="517924"/>
                    </a:lnTo>
                    <a:lnTo>
                      <a:pt x="1688841" y="98047"/>
                    </a:lnTo>
                    <a:cubicBezTo>
                      <a:pt x="1723809" y="46872"/>
                      <a:pt x="1738217" y="-1380"/>
                      <a:pt x="1834643" y="30"/>
                    </a:cubicBezTo>
                    <a:cubicBezTo>
                      <a:pt x="1931069" y="1440"/>
                      <a:pt x="1954997" y="55259"/>
                      <a:pt x="1987421" y="88716"/>
                    </a:cubicBezTo>
                    <a:lnTo>
                      <a:pt x="3694923" y="2878569"/>
                    </a:lnTo>
                    <a:cubicBezTo>
                      <a:pt x="3233691" y="2889920"/>
                      <a:pt x="2716339" y="2732902"/>
                      <a:pt x="2255107" y="2744253"/>
                    </a:cubicBezTo>
                    <a:lnTo>
                      <a:pt x="1191564" y="2985286"/>
                    </a:lnTo>
                    <a:lnTo>
                      <a:pt x="0" y="28132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de-DE" sz="1000" err="1">
                  <a:solidFill>
                    <a:schemeClr val="bg1"/>
                  </a:solidFill>
                </a:endParaRPr>
              </a:p>
            </p:txBody>
          </p:sp>
          <p:sp useBgFill="1">
            <p:nvSpPr>
              <p:cNvPr id="62" name="Freihandform 61"/>
              <p:cNvSpPr/>
              <p:nvPr/>
            </p:nvSpPr>
            <p:spPr>
              <a:xfrm>
                <a:off x="1805301" y="-729663"/>
                <a:ext cx="1938200" cy="1743440"/>
              </a:xfrm>
              <a:custGeom>
                <a:avLst/>
                <a:gdLst>
                  <a:gd name="connsiteX0" fmla="*/ 0 w 2207545"/>
                  <a:gd name="connsiteY0" fmla="*/ 1774693 h 1985709"/>
                  <a:gd name="connsiteX1" fmla="*/ 1087541 w 2207545"/>
                  <a:gd name="connsiteY1" fmla="*/ 0 h 1985709"/>
                  <a:gd name="connsiteX2" fmla="*/ 2207545 w 2207545"/>
                  <a:gd name="connsiteY2" fmla="*/ 1796336 h 1985709"/>
                  <a:gd name="connsiteX3" fmla="*/ 1439233 w 2207545"/>
                  <a:gd name="connsiteY3" fmla="*/ 1558267 h 1985709"/>
                  <a:gd name="connsiteX4" fmla="*/ 984738 w 2207545"/>
                  <a:gd name="connsiteY4" fmla="*/ 1985709 h 1985709"/>
                  <a:gd name="connsiteX5" fmla="*/ 622225 w 2207545"/>
                  <a:gd name="connsiteY5" fmla="*/ 1547446 h 1985709"/>
                  <a:gd name="connsiteX6" fmla="*/ 0 w 2207545"/>
                  <a:gd name="connsiteY6" fmla="*/ 1774693 h 198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7545" h="1985709">
                    <a:moveTo>
                      <a:pt x="0" y="1774693"/>
                    </a:moveTo>
                    <a:lnTo>
                      <a:pt x="1087541" y="0"/>
                    </a:lnTo>
                    <a:lnTo>
                      <a:pt x="2207545" y="1796336"/>
                    </a:lnTo>
                    <a:lnTo>
                      <a:pt x="1439233" y="1558267"/>
                    </a:lnTo>
                    <a:lnTo>
                      <a:pt x="984738" y="1985709"/>
                    </a:lnTo>
                    <a:lnTo>
                      <a:pt x="622225" y="1547446"/>
                    </a:lnTo>
                    <a:lnTo>
                      <a:pt x="0" y="177469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de-DE" sz="10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7" name="Gruppieren 56"/>
            <p:cNvGrpSpPr/>
            <p:nvPr/>
          </p:nvGrpSpPr>
          <p:grpSpPr>
            <a:xfrm>
              <a:off x="6492257" y="4233827"/>
              <a:ext cx="578191" cy="645565"/>
              <a:chOff x="3401947" y="-1596057"/>
              <a:chExt cx="3048648" cy="3403894"/>
            </a:xfrm>
            <a:grpFill/>
          </p:grpSpPr>
          <p:sp>
            <p:nvSpPr>
              <p:cNvPr id="58" name="Freihandform 57"/>
              <p:cNvSpPr>
                <a:spLocks noChangeAspect="1"/>
              </p:cNvSpPr>
              <p:nvPr/>
            </p:nvSpPr>
            <p:spPr>
              <a:xfrm>
                <a:off x="3401947" y="-733955"/>
                <a:ext cx="3048648" cy="2541792"/>
              </a:xfrm>
              <a:custGeom>
                <a:avLst/>
                <a:gdLst>
                  <a:gd name="connsiteX0" fmla="*/ 0 w 3694923"/>
                  <a:gd name="connsiteY0" fmla="*/ 2789853 h 3200400"/>
                  <a:gd name="connsiteX1" fmla="*/ 1427584 w 3694923"/>
                  <a:gd name="connsiteY1" fmla="*/ 494522 h 3200400"/>
                  <a:gd name="connsiteX2" fmla="*/ 1688841 w 3694923"/>
                  <a:gd name="connsiteY2" fmla="*/ 74645 h 3200400"/>
                  <a:gd name="connsiteX3" fmla="*/ 1828800 w 3694923"/>
                  <a:gd name="connsiteY3" fmla="*/ 0 h 3200400"/>
                  <a:gd name="connsiteX4" fmla="*/ 1987421 w 3694923"/>
                  <a:gd name="connsiteY4" fmla="*/ 65314 h 3200400"/>
                  <a:gd name="connsiteX5" fmla="*/ 3694923 w 3694923"/>
                  <a:gd name="connsiteY5" fmla="*/ 2855167 h 3200400"/>
                  <a:gd name="connsiteX6" fmla="*/ 2313992 w 3694923"/>
                  <a:gd name="connsiteY6" fmla="*/ 3200400 h 3200400"/>
                  <a:gd name="connsiteX7" fmla="*/ 0 w 3694923"/>
                  <a:gd name="connsiteY7" fmla="*/ 2789853 h 3200400"/>
                  <a:gd name="connsiteX0" fmla="*/ 0 w 3694923"/>
                  <a:gd name="connsiteY0" fmla="*/ 2791479 h 3202026"/>
                  <a:gd name="connsiteX1" fmla="*/ 1427584 w 3694923"/>
                  <a:gd name="connsiteY1" fmla="*/ 496148 h 3202026"/>
                  <a:gd name="connsiteX2" fmla="*/ 1688841 w 3694923"/>
                  <a:gd name="connsiteY2" fmla="*/ 76271 h 3202026"/>
                  <a:gd name="connsiteX3" fmla="*/ 1828800 w 3694923"/>
                  <a:gd name="connsiteY3" fmla="*/ 1626 h 3202026"/>
                  <a:gd name="connsiteX4" fmla="*/ 1987421 w 3694923"/>
                  <a:gd name="connsiteY4" fmla="*/ 66940 h 3202026"/>
                  <a:gd name="connsiteX5" fmla="*/ 3694923 w 3694923"/>
                  <a:gd name="connsiteY5" fmla="*/ 2856793 h 3202026"/>
                  <a:gd name="connsiteX6" fmla="*/ 2313992 w 3694923"/>
                  <a:gd name="connsiteY6" fmla="*/ 3202026 h 3202026"/>
                  <a:gd name="connsiteX7" fmla="*/ 0 w 3694923"/>
                  <a:gd name="connsiteY7" fmla="*/ 2791479 h 3202026"/>
                  <a:gd name="connsiteX0" fmla="*/ 0 w 3694923"/>
                  <a:gd name="connsiteY0" fmla="*/ 2795224 h 3205771"/>
                  <a:gd name="connsiteX1" fmla="*/ 1427584 w 3694923"/>
                  <a:gd name="connsiteY1" fmla="*/ 499893 h 3205771"/>
                  <a:gd name="connsiteX2" fmla="*/ 1688841 w 3694923"/>
                  <a:gd name="connsiteY2" fmla="*/ 80016 h 3205771"/>
                  <a:gd name="connsiteX3" fmla="*/ 1828800 w 3694923"/>
                  <a:gd name="connsiteY3" fmla="*/ 5371 h 3205771"/>
                  <a:gd name="connsiteX4" fmla="*/ 1987421 w 3694923"/>
                  <a:gd name="connsiteY4" fmla="*/ 70685 h 3205771"/>
                  <a:gd name="connsiteX5" fmla="*/ 3694923 w 3694923"/>
                  <a:gd name="connsiteY5" fmla="*/ 2860538 h 3205771"/>
                  <a:gd name="connsiteX6" fmla="*/ 2313992 w 3694923"/>
                  <a:gd name="connsiteY6" fmla="*/ 3205771 h 3205771"/>
                  <a:gd name="connsiteX7" fmla="*/ 0 w 3694923"/>
                  <a:gd name="connsiteY7" fmla="*/ 2795224 h 3205771"/>
                  <a:gd name="connsiteX0" fmla="*/ 0 w 3694923"/>
                  <a:gd name="connsiteY0" fmla="*/ 2806280 h 3216827"/>
                  <a:gd name="connsiteX1" fmla="*/ 1427584 w 3694923"/>
                  <a:gd name="connsiteY1" fmla="*/ 510949 h 3216827"/>
                  <a:gd name="connsiteX2" fmla="*/ 1688841 w 3694923"/>
                  <a:gd name="connsiteY2" fmla="*/ 91072 h 3216827"/>
                  <a:gd name="connsiteX3" fmla="*/ 1834643 w 3694923"/>
                  <a:gd name="connsiteY3" fmla="*/ 4741 h 3216827"/>
                  <a:gd name="connsiteX4" fmla="*/ 1987421 w 3694923"/>
                  <a:gd name="connsiteY4" fmla="*/ 81741 h 3216827"/>
                  <a:gd name="connsiteX5" fmla="*/ 3694923 w 3694923"/>
                  <a:gd name="connsiteY5" fmla="*/ 2871594 h 3216827"/>
                  <a:gd name="connsiteX6" fmla="*/ 2313992 w 3694923"/>
                  <a:gd name="connsiteY6" fmla="*/ 3216827 h 3216827"/>
                  <a:gd name="connsiteX7" fmla="*/ 0 w 3694923"/>
                  <a:gd name="connsiteY7" fmla="*/ 2806280 h 3216827"/>
                  <a:gd name="connsiteX0" fmla="*/ 0 w 3694923"/>
                  <a:gd name="connsiteY0" fmla="*/ 2801563 h 3212110"/>
                  <a:gd name="connsiteX1" fmla="*/ 1427584 w 3694923"/>
                  <a:gd name="connsiteY1" fmla="*/ 506232 h 3212110"/>
                  <a:gd name="connsiteX2" fmla="*/ 1688841 w 3694923"/>
                  <a:gd name="connsiteY2" fmla="*/ 86355 h 3212110"/>
                  <a:gd name="connsiteX3" fmla="*/ 1834643 w 3694923"/>
                  <a:gd name="connsiteY3" fmla="*/ 24 h 3212110"/>
                  <a:gd name="connsiteX4" fmla="*/ 1987421 w 3694923"/>
                  <a:gd name="connsiteY4" fmla="*/ 77024 h 3212110"/>
                  <a:gd name="connsiteX5" fmla="*/ 3694923 w 3694923"/>
                  <a:gd name="connsiteY5" fmla="*/ 2866877 h 3212110"/>
                  <a:gd name="connsiteX6" fmla="*/ 2313992 w 3694923"/>
                  <a:gd name="connsiteY6" fmla="*/ 3212110 h 3212110"/>
                  <a:gd name="connsiteX7" fmla="*/ 0 w 3694923"/>
                  <a:gd name="connsiteY7" fmla="*/ 2801563 h 3212110"/>
                  <a:gd name="connsiteX0" fmla="*/ 0 w 3694923"/>
                  <a:gd name="connsiteY0" fmla="*/ 2801568 h 3212115"/>
                  <a:gd name="connsiteX1" fmla="*/ 1427584 w 3694923"/>
                  <a:gd name="connsiteY1" fmla="*/ 506237 h 3212115"/>
                  <a:gd name="connsiteX2" fmla="*/ 1688841 w 3694923"/>
                  <a:gd name="connsiteY2" fmla="*/ 86360 h 3212115"/>
                  <a:gd name="connsiteX3" fmla="*/ 1834643 w 3694923"/>
                  <a:gd name="connsiteY3" fmla="*/ 29 h 3212115"/>
                  <a:gd name="connsiteX4" fmla="*/ 1987421 w 3694923"/>
                  <a:gd name="connsiteY4" fmla="*/ 77029 h 3212115"/>
                  <a:gd name="connsiteX5" fmla="*/ 3694923 w 3694923"/>
                  <a:gd name="connsiteY5" fmla="*/ 2866882 h 3212115"/>
                  <a:gd name="connsiteX6" fmla="*/ 2313992 w 3694923"/>
                  <a:gd name="connsiteY6" fmla="*/ 3212115 h 3212115"/>
                  <a:gd name="connsiteX7" fmla="*/ 0 w 3694923"/>
                  <a:gd name="connsiteY7" fmla="*/ 2801568 h 3212115"/>
                  <a:gd name="connsiteX0" fmla="*/ 0 w 3694923"/>
                  <a:gd name="connsiteY0" fmla="*/ 2801568 h 3212115"/>
                  <a:gd name="connsiteX1" fmla="*/ 1427584 w 3694923"/>
                  <a:gd name="connsiteY1" fmla="*/ 506237 h 3212115"/>
                  <a:gd name="connsiteX2" fmla="*/ 1688841 w 3694923"/>
                  <a:gd name="connsiteY2" fmla="*/ 86360 h 3212115"/>
                  <a:gd name="connsiteX3" fmla="*/ 1834643 w 3694923"/>
                  <a:gd name="connsiteY3" fmla="*/ 29 h 3212115"/>
                  <a:gd name="connsiteX4" fmla="*/ 1987421 w 3694923"/>
                  <a:gd name="connsiteY4" fmla="*/ 77029 h 3212115"/>
                  <a:gd name="connsiteX5" fmla="*/ 3694923 w 3694923"/>
                  <a:gd name="connsiteY5" fmla="*/ 2866882 h 3212115"/>
                  <a:gd name="connsiteX6" fmla="*/ 2313992 w 3694923"/>
                  <a:gd name="connsiteY6" fmla="*/ 3212115 h 3212115"/>
                  <a:gd name="connsiteX7" fmla="*/ 0 w 3694923"/>
                  <a:gd name="connsiteY7" fmla="*/ 2801568 h 3212115"/>
                  <a:gd name="connsiteX0" fmla="*/ 0 w 3694923"/>
                  <a:gd name="connsiteY0" fmla="*/ 2801576 h 3212123"/>
                  <a:gd name="connsiteX1" fmla="*/ 1427584 w 3694923"/>
                  <a:gd name="connsiteY1" fmla="*/ 506245 h 3212123"/>
                  <a:gd name="connsiteX2" fmla="*/ 1688841 w 3694923"/>
                  <a:gd name="connsiteY2" fmla="*/ 86368 h 3212123"/>
                  <a:gd name="connsiteX3" fmla="*/ 1834643 w 3694923"/>
                  <a:gd name="connsiteY3" fmla="*/ 37 h 3212123"/>
                  <a:gd name="connsiteX4" fmla="*/ 1987421 w 3694923"/>
                  <a:gd name="connsiteY4" fmla="*/ 77037 h 3212123"/>
                  <a:gd name="connsiteX5" fmla="*/ 3694923 w 3694923"/>
                  <a:gd name="connsiteY5" fmla="*/ 2866890 h 3212123"/>
                  <a:gd name="connsiteX6" fmla="*/ 2313992 w 3694923"/>
                  <a:gd name="connsiteY6" fmla="*/ 3212123 h 3212123"/>
                  <a:gd name="connsiteX7" fmla="*/ 0 w 3694923"/>
                  <a:gd name="connsiteY7" fmla="*/ 2801576 h 3212123"/>
                  <a:gd name="connsiteX0" fmla="*/ 0 w 3694923"/>
                  <a:gd name="connsiteY0" fmla="*/ 2813254 h 3223801"/>
                  <a:gd name="connsiteX1" fmla="*/ 1427584 w 3694923"/>
                  <a:gd name="connsiteY1" fmla="*/ 517923 h 3223801"/>
                  <a:gd name="connsiteX2" fmla="*/ 1688841 w 3694923"/>
                  <a:gd name="connsiteY2" fmla="*/ 98046 h 3223801"/>
                  <a:gd name="connsiteX3" fmla="*/ 1834643 w 3694923"/>
                  <a:gd name="connsiteY3" fmla="*/ 29 h 3223801"/>
                  <a:gd name="connsiteX4" fmla="*/ 1987421 w 3694923"/>
                  <a:gd name="connsiteY4" fmla="*/ 88715 h 3223801"/>
                  <a:gd name="connsiteX5" fmla="*/ 3694923 w 3694923"/>
                  <a:gd name="connsiteY5" fmla="*/ 2878568 h 3223801"/>
                  <a:gd name="connsiteX6" fmla="*/ 2313992 w 3694923"/>
                  <a:gd name="connsiteY6" fmla="*/ 3223801 h 3223801"/>
                  <a:gd name="connsiteX7" fmla="*/ 0 w 3694923"/>
                  <a:gd name="connsiteY7" fmla="*/ 2813254 h 3223801"/>
                  <a:gd name="connsiteX0" fmla="*/ 0 w 3694923"/>
                  <a:gd name="connsiteY0" fmla="*/ 2813250 h 3223797"/>
                  <a:gd name="connsiteX1" fmla="*/ 1427584 w 3694923"/>
                  <a:gd name="connsiteY1" fmla="*/ 517919 h 3223797"/>
                  <a:gd name="connsiteX2" fmla="*/ 1688841 w 3694923"/>
                  <a:gd name="connsiteY2" fmla="*/ 98042 h 3223797"/>
                  <a:gd name="connsiteX3" fmla="*/ 1834643 w 3694923"/>
                  <a:gd name="connsiteY3" fmla="*/ 25 h 3223797"/>
                  <a:gd name="connsiteX4" fmla="*/ 1987421 w 3694923"/>
                  <a:gd name="connsiteY4" fmla="*/ 88711 h 3223797"/>
                  <a:gd name="connsiteX5" fmla="*/ 3694923 w 3694923"/>
                  <a:gd name="connsiteY5" fmla="*/ 2878564 h 3223797"/>
                  <a:gd name="connsiteX6" fmla="*/ 2313992 w 3694923"/>
                  <a:gd name="connsiteY6" fmla="*/ 3223797 h 3223797"/>
                  <a:gd name="connsiteX7" fmla="*/ 0 w 3694923"/>
                  <a:gd name="connsiteY7" fmla="*/ 2813250 h 3223797"/>
                  <a:gd name="connsiteX0" fmla="*/ 0 w 3694923"/>
                  <a:gd name="connsiteY0" fmla="*/ 2813255 h 3223802"/>
                  <a:gd name="connsiteX1" fmla="*/ 1427584 w 3694923"/>
                  <a:gd name="connsiteY1" fmla="*/ 517924 h 3223802"/>
                  <a:gd name="connsiteX2" fmla="*/ 1688841 w 3694923"/>
                  <a:gd name="connsiteY2" fmla="*/ 98047 h 3223802"/>
                  <a:gd name="connsiteX3" fmla="*/ 1834643 w 3694923"/>
                  <a:gd name="connsiteY3" fmla="*/ 30 h 3223802"/>
                  <a:gd name="connsiteX4" fmla="*/ 1987421 w 3694923"/>
                  <a:gd name="connsiteY4" fmla="*/ 88716 h 3223802"/>
                  <a:gd name="connsiteX5" fmla="*/ 3694923 w 3694923"/>
                  <a:gd name="connsiteY5" fmla="*/ 2878569 h 3223802"/>
                  <a:gd name="connsiteX6" fmla="*/ 2313992 w 3694923"/>
                  <a:gd name="connsiteY6" fmla="*/ 3223802 h 3223802"/>
                  <a:gd name="connsiteX7" fmla="*/ 0 w 3694923"/>
                  <a:gd name="connsiteY7" fmla="*/ 2813255 h 3223802"/>
                  <a:gd name="connsiteX0" fmla="*/ 0 w 3694923"/>
                  <a:gd name="connsiteY0" fmla="*/ 2813255 h 3223802"/>
                  <a:gd name="connsiteX1" fmla="*/ 1427584 w 3694923"/>
                  <a:gd name="connsiteY1" fmla="*/ 517924 h 3223802"/>
                  <a:gd name="connsiteX2" fmla="*/ 1688841 w 3694923"/>
                  <a:gd name="connsiteY2" fmla="*/ 98047 h 3223802"/>
                  <a:gd name="connsiteX3" fmla="*/ 1834643 w 3694923"/>
                  <a:gd name="connsiteY3" fmla="*/ 30 h 3223802"/>
                  <a:gd name="connsiteX4" fmla="*/ 1987421 w 3694923"/>
                  <a:gd name="connsiteY4" fmla="*/ 88716 h 3223802"/>
                  <a:gd name="connsiteX5" fmla="*/ 3694923 w 3694923"/>
                  <a:gd name="connsiteY5" fmla="*/ 2878569 h 3223802"/>
                  <a:gd name="connsiteX6" fmla="*/ 2313992 w 3694923"/>
                  <a:gd name="connsiteY6" fmla="*/ 3223802 h 3223802"/>
                  <a:gd name="connsiteX7" fmla="*/ 0 w 3694923"/>
                  <a:gd name="connsiteY7" fmla="*/ 2813255 h 3223802"/>
                  <a:gd name="connsiteX0" fmla="*/ 0 w 3428207"/>
                  <a:gd name="connsiteY0" fmla="*/ 2413182 h 3223802"/>
                  <a:gd name="connsiteX1" fmla="*/ 1160868 w 3428207"/>
                  <a:gd name="connsiteY1" fmla="*/ 517924 h 3223802"/>
                  <a:gd name="connsiteX2" fmla="*/ 1422125 w 3428207"/>
                  <a:gd name="connsiteY2" fmla="*/ 98047 h 3223802"/>
                  <a:gd name="connsiteX3" fmla="*/ 1567927 w 3428207"/>
                  <a:gd name="connsiteY3" fmla="*/ 30 h 3223802"/>
                  <a:gd name="connsiteX4" fmla="*/ 1720705 w 3428207"/>
                  <a:gd name="connsiteY4" fmla="*/ 88716 h 3223802"/>
                  <a:gd name="connsiteX5" fmla="*/ 3428207 w 3428207"/>
                  <a:gd name="connsiteY5" fmla="*/ 2878569 h 3223802"/>
                  <a:gd name="connsiteX6" fmla="*/ 2047276 w 3428207"/>
                  <a:gd name="connsiteY6" fmla="*/ 3223802 h 3223802"/>
                  <a:gd name="connsiteX7" fmla="*/ 0 w 3428207"/>
                  <a:gd name="connsiteY7" fmla="*/ 2413182 h 3223802"/>
                  <a:gd name="connsiteX0" fmla="*/ 0 w 3428207"/>
                  <a:gd name="connsiteY0" fmla="*/ 2413182 h 3223802"/>
                  <a:gd name="connsiteX1" fmla="*/ 1160868 w 3428207"/>
                  <a:gd name="connsiteY1" fmla="*/ 517924 h 3223802"/>
                  <a:gd name="connsiteX2" fmla="*/ 1422125 w 3428207"/>
                  <a:gd name="connsiteY2" fmla="*/ 98047 h 3223802"/>
                  <a:gd name="connsiteX3" fmla="*/ 1567927 w 3428207"/>
                  <a:gd name="connsiteY3" fmla="*/ 30 h 3223802"/>
                  <a:gd name="connsiteX4" fmla="*/ 1720705 w 3428207"/>
                  <a:gd name="connsiteY4" fmla="*/ 88716 h 3223802"/>
                  <a:gd name="connsiteX5" fmla="*/ 3428207 w 3428207"/>
                  <a:gd name="connsiteY5" fmla="*/ 2878569 h 3223802"/>
                  <a:gd name="connsiteX6" fmla="*/ 2047276 w 3428207"/>
                  <a:gd name="connsiteY6" fmla="*/ 3223802 h 3223802"/>
                  <a:gd name="connsiteX7" fmla="*/ 974455 w 3428207"/>
                  <a:gd name="connsiteY7" fmla="*/ 2295590 h 3223802"/>
                  <a:gd name="connsiteX8" fmla="*/ 0 w 3428207"/>
                  <a:gd name="connsiteY8" fmla="*/ 2413182 h 3223802"/>
                  <a:gd name="connsiteX0" fmla="*/ 0 w 3428207"/>
                  <a:gd name="connsiteY0" fmla="*/ 2413182 h 3224129"/>
                  <a:gd name="connsiteX1" fmla="*/ 1160868 w 3428207"/>
                  <a:gd name="connsiteY1" fmla="*/ 517924 h 3224129"/>
                  <a:gd name="connsiteX2" fmla="*/ 1422125 w 3428207"/>
                  <a:gd name="connsiteY2" fmla="*/ 98047 h 3224129"/>
                  <a:gd name="connsiteX3" fmla="*/ 1567927 w 3428207"/>
                  <a:gd name="connsiteY3" fmla="*/ 30 h 3224129"/>
                  <a:gd name="connsiteX4" fmla="*/ 1720705 w 3428207"/>
                  <a:gd name="connsiteY4" fmla="*/ 88716 h 3224129"/>
                  <a:gd name="connsiteX5" fmla="*/ 3428207 w 3428207"/>
                  <a:gd name="connsiteY5" fmla="*/ 2878569 h 3224129"/>
                  <a:gd name="connsiteX6" fmla="*/ 2047276 w 3428207"/>
                  <a:gd name="connsiteY6" fmla="*/ 3223802 h 3224129"/>
                  <a:gd name="connsiteX7" fmla="*/ 1897695 w 3428207"/>
                  <a:gd name="connsiteY7" fmla="*/ 2531534 h 3224129"/>
                  <a:gd name="connsiteX8" fmla="*/ 974455 w 3428207"/>
                  <a:gd name="connsiteY8" fmla="*/ 2295590 h 3224129"/>
                  <a:gd name="connsiteX9" fmla="*/ 0 w 3428207"/>
                  <a:gd name="connsiteY9" fmla="*/ 2413182 h 3224129"/>
                  <a:gd name="connsiteX0" fmla="*/ 0 w 3428207"/>
                  <a:gd name="connsiteY0" fmla="*/ 2413182 h 2878570"/>
                  <a:gd name="connsiteX1" fmla="*/ 1160868 w 3428207"/>
                  <a:gd name="connsiteY1" fmla="*/ 517924 h 2878570"/>
                  <a:gd name="connsiteX2" fmla="*/ 1422125 w 3428207"/>
                  <a:gd name="connsiteY2" fmla="*/ 98047 h 2878570"/>
                  <a:gd name="connsiteX3" fmla="*/ 1567927 w 3428207"/>
                  <a:gd name="connsiteY3" fmla="*/ 30 h 2878570"/>
                  <a:gd name="connsiteX4" fmla="*/ 1720705 w 3428207"/>
                  <a:gd name="connsiteY4" fmla="*/ 88716 h 2878570"/>
                  <a:gd name="connsiteX5" fmla="*/ 3428207 w 3428207"/>
                  <a:gd name="connsiteY5" fmla="*/ 2878569 h 2878570"/>
                  <a:gd name="connsiteX6" fmla="*/ 2313993 w 3428207"/>
                  <a:gd name="connsiteY6" fmla="*/ 2249269 h 2878570"/>
                  <a:gd name="connsiteX7" fmla="*/ 1897695 w 3428207"/>
                  <a:gd name="connsiteY7" fmla="*/ 2531534 h 2878570"/>
                  <a:gd name="connsiteX8" fmla="*/ 974455 w 3428207"/>
                  <a:gd name="connsiteY8" fmla="*/ 2295590 h 2878570"/>
                  <a:gd name="connsiteX9" fmla="*/ 0 w 3428207"/>
                  <a:gd name="connsiteY9" fmla="*/ 2413182 h 2878570"/>
                  <a:gd name="connsiteX0" fmla="*/ 0 w 3048649"/>
                  <a:gd name="connsiteY0" fmla="*/ 2413182 h 2565612"/>
                  <a:gd name="connsiteX1" fmla="*/ 1160868 w 3048649"/>
                  <a:gd name="connsiteY1" fmla="*/ 517924 h 2565612"/>
                  <a:gd name="connsiteX2" fmla="*/ 1422125 w 3048649"/>
                  <a:gd name="connsiteY2" fmla="*/ 98047 h 2565612"/>
                  <a:gd name="connsiteX3" fmla="*/ 1567927 w 3048649"/>
                  <a:gd name="connsiteY3" fmla="*/ 30 h 2565612"/>
                  <a:gd name="connsiteX4" fmla="*/ 1720705 w 3048649"/>
                  <a:gd name="connsiteY4" fmla="*/ 88716 h 2565612"/>
                  <a:gd name="connsiteX5" fmla="*/ 3048649 w 3048649"/>
                  <a:gd name="connsiteY5" fmla="*/ 2263073 h 2565612"/>
                  <a:gd name="connsiteX6" fmla="*/ 2313993 w 3048649"/>
                  <a:gd name="connsiteY6" fmla="*/ 2249269 h 2565612"/>
                  <a:gd name="connsiteX7" fmla="*/ 1897695 w 3048649"/>
                  <a:gd name="connsiteY7" fmla="*/ 2531534 h 2565612"/>
                  <a:gd name="connsiteX8" fmla="*/ 974455 w 3048649"/>
                  <a:gd name="connsiteY8" fmla="*/ 2295590 h 2565612"/>
                  <a:gd name="connsiteX9" fmla="*/ 0 w 3048649"/>
                  <a:gd name="connsiteY9" fmla="*/ 2413182 h 2565612"/>
                  <a:gd name="connsiteX0" fmla="*/ 0 w 3048649"/>
                  <a:gd name="connsiteY0" fmla="*/ 2413182 h 2559174"/>
                  <a:gd name="connsiteX1" fmla="*/ 1160868 w 3048649"/>
                  <a:gd name="connsiteY1" fmla="*/ 517924 h 2559174"/>
                  <a:gd name="connsiteX2" fmla="*/ 1422125 w 3048649"/>
                  <a:gd name="connsiteY2" fmla="*/ 98047 h 2559174"/>
                  <a:gd name="connsiteX3" fmla="*/ 1567927 w 3048649"/>
                  <a:gd name="connsiteY3" fmla="*/ 30 h 2559174"/>
                  <a:gd name="connsiteX4" fmla="*/ 1720705 w 3048649"/>
                  <a:gd name="connsiteY4" fmla="*/ 88716 h 2559174"/>
                  <a:gd name="connsiteX5" fmla="*/ 3048649 w 3048649"/>
                  <a:gd name="connsiteY5" fmla="*/ 2263073 h 2559174"/>
                  <a:gd name="connsiteX6" fmla="*/ 2149858 w 3048649"/>
                  <a:gd name="connsiteY6" fmla="*/ 2126167 h 2559174"/>
                  <a:gd name="connsiteX7" fmla="*/ 1897695 w 3048649"/>
                  <a:gd name="connsiteY7" fmla="*/ 2531534 h 2559174"/>
                  <a:gd name="connsiteX8" fmla="*/ 974455 w 3048649"/>
                  <a:gd name="connsiteY8" fmla="*/ 2295590 h 2559174"/>
                  <a:gd name="connsiteX9" fmla="*/ 0 w 3048649"/>
                  <a:gd name="connsiteY9" fmla="*/ 2413182 h 2559174"/>
                  <a:gd name="connsiteX0" fmla="*/ 0 w 3048649"/>
                  <a:gd name="connsiteY0" fmla="*/ 2413182 h 2569139"/>
                  <a:gd name="connsiteX1" fmla="*/ 1160868 w 3048649"/>
                  <a:gd name="connsiteY1" fmla="*/ 517924 h 2569139"/>
                  <a:gd name="connsiteX2" fmla="*/ 1422125 w 3048649"/>
                  <a:gd name="connsiteY2" fmla="*/ 98047 h 2569139"/>
                  <a:gd name="connsiteX3" fmla="*/ 1567927 w 3048649"/>
                  <a:gd name="connsiteY3" fmla="*/ 30 h 2569139"/>
                  <a:gd name="connsiteX4" fmla="*/ 1720705 w 3048649"/>
                  <a:gd name="connsiteY4" fmla="*/ 88716 h 2569139"/>
                  <a:gd name="connsiteX5" fmla="*/ 3048649 w 3048649"/>
                  <a:gd name="connsiteY5" fmla="*/ 2263073 h 2569139"/>
                  <a:gd name="connsiteX6" fmla="*/ 2149858 w 3048649"/>
                  <a:gd name="connsiteY6" fmla="*/ 2126167 h 2569139"/>
                  <a:gd name="connsiteX7" fmla="*/ 1897695 w 3048649"/>
                  <a:gd name="connsiteY7" fmla="*/ 2531534 h 2569139"/>
                  <a:gd name="connsiteX8" fmla="*/ 974455 w 3048649"/>
                  <a:gd name="connsiteY8" fmla="*/ 2295590 h 2569139"/>
                  <a:gd name="connsiteX9" fmla="*/ 0 w 3048649"/>
                  <a:gd name="connsiteY9" fmla="*/ 2413182 h 2569139"/>
                  <a:gd name="connsiteX0" fmla="*/ 0 w 3048649"/>
                  <a:gd name="connsiteY0" fmla="*/ 2413182 h 2578630"/>
                  <a:gd name="connsiteX1" fmla="*/ 1160868 w 3048649"/>
                  <a:gd name="connsiteY1" fmla="*/ 517924 h 2578630"/>
                  <a:gd name="connsiteX2" fmla="*/ 1422125 w 3048649"/>
                  <a:gd name="connsiteY2" fmla="*/ 98047 h 2578630"/>
                  <a:gd name="connsiteX3" fmla="*/ 1567927 w 3048649"/>
                  <a:gd name="connsiteY3" fmla="*/ 30 h 2578630"/>
                  <a:gd name="connsiteX4" fmla="*/ 1720705 w 3048649"/>
                  <a:gd name="connsiteY4" fmla="*/ 88716 h 2578630"/>
                  <a:gd name="connsiteX5" fmla="*/ 3048649 w 3048649"/>
                  <a:gd name="connsiteY5" fmla="*/ 2263073 h 2578630"/>
                  <a:gd name="connsiteX6" fmla="*/ 2149858 w 3048649"/>
                  <a:gd name="connsiteY6" fmla="*/ 2126167 h 2578630"/>
                  <a:gd name="connsiteX7" fmla="*/ 1651495 w 3048649"/>
                  <a:gd name="connsiteY7" fmla="*/ 2541789 h 2578630"/>
                  <a:gd name="connsiteX8" fmla="*/ 974455 w 3048649"/>
                  <a:gd name="connsiteY8" fmla="*/ 2295590 h 2578630"/>
                  <a:gd name="connsiteX9" fmla="*/ 0 w 3048649"/>
                  <a:gd name="connsiteY9" fmla="*/ 2413182 h 2578630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49858 w 3048649"/>
                  <a:gd name="connsiteY6" fmla="*/ 2126167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49858 w 3048649"/>
                  <a:gd name="connsiteY6" fmla="*/ 2126167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49858 w 3048649"/>
                  <a:gd name="connsiteY6" fmla="*/ 2126167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49858 w 3048649"/>
                  <a:gd name="connsiteY6" fmla="*/ 2126167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49858 w 3048649"/>
                  <a:gd name="connsiteY6" fmla="*/ 2126167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60114 w 3048649"/>
                  <a:gd name="connsiteY6" fmla="*/ 2228752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60114 w 3048649"/>
                  <a:gd name="connsiteY6" fmla="*/ 2228752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  <a:gd name="connsiteX0" fmla="*/ 0 w 3048649"/>
                  <a:gd name="connsiteY0" fmla="*/ 2413182 h 2541789"/>
                  <a:gd name="connsiteX1" fmla="*/ 1160868 w 3048649"/>
                  <a:gd name="connsiteY1" fmla="*/ 517924 h 2541789"/>
                  <a:gd name="connsiteX2" fmla="*/ 1422125 w 3048649"/>
                  <a:gd name="connsiteY2" fmla="*/ 98047 h 2541789"/>
                  <a:gd name="connsiteX3" fmla="*/ 1567927 w 3048649"/>
                  <a:gd name="connsiteY3" fmla="*/ 30 h 2541789"/>
                  <a:gd name="connsiteX4" fmla="*/ 1720705 w 3048649"/>
                  <a:gd name="connsiteY4" fmla="*/ 88716 h 2541789"/>
                  <a:gd name="connsiteX5" fmla="*/ 3048649 w 3048649"/>
                  <a:gd name="connsiteY5" fmla="*/ 2263073 h 2541789"/>
                  <a:gd name="connsiteX6" fmla="*/ 2160114 w 3048649"/>
                  <a:gd name="connsiteY6" fmla="*/ 2228752 h 2541789"/>
                  <a:gd name="connsiteX7" fmla="*/ 1651495 w 3048649"/>
                  <a:gd name="connsiteY7" fmla="*/ 2541789 h 2541789"/>
                  <a:gd name="connsiteX8" fmla="*/ 974455 w 3048649"/>
                  <a:gd name="connsiteY8" fmla="*/ 2295590 h 2541789"/>
                  <a:gd name="connsiteX9" fmla="*/ 0 w 3048649"/>
                  <a:gd name="connsiteY9" fmla="*/ 2413182 h 2541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649" h="2541789">
                    <a:moveTo>
                      <a:pt x="0" y="2413182"/>
                    </a:moveTo>
                    <a:lnTo>
                      <a:pt x="1160868" y="517924"/>
                    </a:lnTo>
                    <a:cubicBezTo>
                      <a:pt x="1397889" y="132068"/>
                      <a:pt x="1335039" y="238006"/>
                      <a:pt x="1422125" y="98047"/>
                    </a:cubicBezTo>
                    <a:cubicBezTo>
                      <a:pt x="1457093" y="46872"/>
                      <a:pt x="1471501" y="-1380"/>
                      <a:pt x="1567927" y="30"/>
                    </a:cubicBezTo>
                    <a:cubicBezTo>
                      <a:pt x="1664353" y="1440"/>
                      <a:pt x="1688281" y="55259"/>
                      <a:pt x="1720705" y="88716"/>
                    </a:cubicBezTo>
                    <a:lnTo>
                      <a:pt x="3048649" y="2263073"/>
                    </a:lnTo>
                    <a:lnTo>
                      <a:pt x="2160114" y="2228752"/>
                    </a:lnTo>
                    <a:cubicBezTo>
                      <a:pt x="1905029" y="2388047"/>
                      <a:pt x="1881587" y="2388743"/>
                      <a:pt x="1651495" y="2541789"/>
                    </a:cubicBezTo>
                    <a:cubicBezTo>
                      <a:pt x="1411137" y="2469152"/>
                      <a:pt x="1259963" y="2388832"/>
                      <a:pt x="974455" y="2295590"/>
                    </a:cubicBezTo>
                    <a:lnTo>
                      <a:pt x="0" y="24131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de-DE" sz="1000" err="1">
                  <a:solidFill>
                    <a:schemeClr val="bg1"/>
                  </a:solidFill>
                </a:endParaRPr>
              </a:p>
            </p:txBody>
          </p:sp>
          <p:sp useBgFill="1">
            <p:nvSpPr>
              <p:cNvPr id="59" name="Freihandform 58"/>
              <p:cNvSpPr/>
              <p:nvPr/>
            </p:nvSpPr>
            <p:spPr>
              <a:xfrm>
                <a:off x="3879437" y="-573529"/>
                <a:ext cx="2207545" cy="1985709"/>
              </a:xfrm>
              <a:custGeom>
                <a:avLst/>
                <a:gdLst>
                  <a:gd name="connsiteX0" fmla="*/ 0 w 2207545"/>
                  <a:gd name="connsiteY0" fmla="*/ 1774693 h 1985709"/>
                  <a:gd name="connsiteX1" fmla="*/ 1087541 w 2207545"/>
                  <a:gd name="connsiteY1" fmla="*/ 0 h 1985709"/>
                  <a:gd name="connsiteX2" fmla="*/ 2207545 w 2207545"/>
                  <a:gd name="connsiteY2" fmla="*/ 1796336 h 1985709"/>
                  <a:gd name="connsiteX3" fmla="*/ 1439233 w 2207545"/>
                  <a:gd name="connsiteY3" fmla="*/ 1558267 h 1985709"/>
                  <a:gd name="connsiteX4" fmla="*/ 984738 w 2207545"/>
                  <a:gd name="connsiteY4" fmla="*/ 1985709 h 1985709"/>
                  <a:gd name="connsiteX5" fmla="*/ 622225 w 2207545"/>
                  <a:gd name="connsiteY5" fmla="*/ 1547446 h 1985709"/>
                  <a:gd name="connsiteX6" fmla="*/ 0 w 2207545"/>
                  <a:gd name="connsiteY6" fmla="*/ 1774693 h 198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7545" h="1985709">
                    <a:moveTo>
                      <a:pt x="0" y="1774693"/>
                    </a:moveTo>
                    <a:lnTo>
                      <a:pt x="1087541" y="0"/>
                    </a:lnTo>
                    <a:lnTo>
                      <a:pt x="2207545" y="1796336"/>
                    </a:lnTo>
                    <a:lnTo>
                      <a:pt x="1439233" y="1558267"/>
                    </a:lnTo>
                    <a:lnTo>
                      <a:pt x="984738" y="1985709"/>
                    </a:lnTo>
                    <a:lnTo>
                      <a:pt x="622225" y="1547446"/>
                    </a:lnTo>
                    <a:lnTo>
                      <a:pt x="0" y="177469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de-DE" sz="10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Eingekerbter Richtungspfeil 38"/>
              <p:cNvSpPr/>
              <p:nvPr/>
            </p:nvSpPr>
            <p:spPr>
              <a:xfrm flipH="1">
                <a:off x="4909715" y="-1596057"/>
                <a:ext cx="817066" cy="889731"/>
              </a:xfrm>
              <a:custGeom>
                <a:avLst/>
                <a:gdLst>
                  <a:gd name="connsiteX0" fmla="*/ 0 w 773781"/>
                  <a:gd name="connsiteY0" fmla="*/ 0 h 513370"/>
                  <a:gd name="connsiteX1" fmla="*/ 602475 w 773781"/>
                  <a:gd name="connsiteY1" fmla="*/ 0 h 513370"/>
                  <a:gd name="connsiteX2" fmla="*/ 773781 w 773781"/>
                  <a:gd name="connsiteY2" fmla="*/ 256685 h 513370"/>
                  <a:gd name="connsiteX3" fmla="*/ 602475 w 773781"/>
                  <a:gd name="connsiteY3" fmla="*/ 513370 h 513370"/>
                  <a:gd name="connsiteX4" fmla="*/ 0 w 773781"/>
                  <a:gd name="connsiteY4" fmla="*/ 513370 h 513370"/>
                  <a:gd name="connsiteX5" fmla="*/ 171306 w 773781"/>
                  <a:gd name="connsiteY5" fmla="*/ 256685 h 513370"/>
                  <a:gd name="connsiteX6" fmla="*/ 0 w 773781"/>
                  <a:gd name="connsiteY6" fmla="*/ 0 h 513370"/>
                  <a:gd name="connsiteX0" fmla="*/ 0 w 808080"/>
                  <a:gd name="connsiteY0" fmla="*/ 0 h 513370"/>
                  <a:gd name="connsiteX1" fmla="*/ 808080 w 808080"/>
                  <a:gd name="connsiteY1" fmla="*/ 0 h 513370"/>
                  <a:gd name="connsiteX2" fmla="*/ 773781 w 808080"/>
                  <a:gd name="connsiteY2" fmla="*/ 256685 h 513370"/>
                  <a:gd name="connsiteX3" fmla="*/ 602475 w 808080"/>
                  <a:gd name="connsiteY3" fmla="*/ 513370 h 513370"/>
                  <a:gd name="connsiteX4" fmla="*/ 0 w 808080"/>
                  <a:gd name="connsiteY4" fmla="*/ 513370 h 513370"/>
                  <a:gd name="connsiteX5" fmla="*/ 171306 w 808080"/>
                  <a:gd name="connsiteY5" fmla="*/ 256685 h 513370"/>
                  <a:gd name="connsiteX6" fmla="*/ 0 w 808080"/>
                  <a:gd name="connsiteY6" fmla="*/ 0 h 513370"/>
                  <a:gd name="connsiteX0" fmla="*/ 0 w 808080"/>
                  <a:gd name="connsiteY0" fmla="*/ 0 h 513370"/>
                  <a:gd name="connsiteX1" fmla="*/ 808080 w 808080"/>
                  <a:gd name="connsiteY1" fmla="*/ 0 h 513370"/>
                  <a:gd name="connsiteX2" fmla="*/ 773781 w 808080"/>
                  <a:gd name="connsiteY2" fmla="*/ 256685 h 513370"/>
                  <a:gd name="connsiteX3" fmla="*/ 678224 w 808080"/>
                  <a:gd name="connsiteY3" fmla="*/ 497138 h 513370"/>
                  <a:gd name="connsiteX4" fmla="*/ 0 w 808080"/>
                  <a:gd name="connsiteY4" fmla="*/ 513370 h 513370"/>
                  <a:gd name="connsiteX5" fmla="*/ 171306 w 808080"/>
                  <a:gd name="connsiteY5" fmla="*/ 256685 h 513370"/>
                  <a:gd name="connsiteX6" fmla="*/ 0 w 808080"/>
                  <a:gd name="connsiteY6" fmla="*/ 0 h 513370"/>
                  <a:gd name="connsiteX0" fmla="*/ 0 w 808080"/>
                  <a:gd name="connsiteY0" fmla="*/ 0 h 513370"/>
                  <a:gd name="connsiteX1" fmla="*/ 808080 w 808080"/>
                  <a:gd name="connsiteY1" fmla="*/ 0 h 513370"/>
                  <a:gd name="connsiteX2" fmla="*/ 773781 w 808080"/>
                  <a:gd name="connsiteY2" fmla="*/ 256685 h 513370"/>
                  <a:gd name="connsiteX3" fmla="*/ 694456 w 808080"/>
                  <a:gd name="connsiteY3" fmla="*/ 507959 h 513370"/>
                  <a:gd name="connsiteX4" fmla="*/ 0 w 808080"/>
                  <a:gd name="connsiteY4" fmla="*/ 513370 h 513370"/>
                  <a:gd name="connsiteX5" fmla="*/ 171306 w 808080"/>
                  <a:gd name="connsiteY5" fmla="*/ 256685 h 513370"/>
                  <a:gd name="connsiteX6" fmla="*/ 0 w 808080"/>
                  <a:gd name="connsiteY6" fmla="*/ 0 h 513370"/>
                  <a:gd name="connsiteX0" fmla="*/ 0 w 817066"/>
                  <a:gd name="connsiteY0" fmla="*/ 0 h 889731"/>
                  <a:gd name="connsiteX1" fmla="*/ 808080 w 817066"/>
                  <a:gd name="connsiteY1" fmla="*/ 0 h 889731"/>
                  <a:gd name="connsiteX2" fmla="*/ 817066 w 817066"/>
                  <a:gd name="connsiteY2" fmla="*/ 889731 h 889731"/>
                  <a:gd name="connsiteX3" fmla="*/ 694456 w 817066"/>
                  <a:gd name="connsiteY3" fmla="*/ 507959 h 889731"/>
                  <a:gd name="connsiteX4" fmla="*/ 0 w 817066"/>
                  <a:gd name="connsiteY4" fmla="*/ 513370 h 889731"/>
                  <a:gd name="connsiteX5" fmla="*/ 171306 w 817066"/>
                  <a:gd name="connsiteY5" fmla="*/ 256685 h 889731"/>
                  <a:gd name="connsiteX6" fmla="*/ 0 w 817066"/>
                  <a:gd name="connsiteY6" fmla="*/ 0 h 889731"/>
                  <a:gd name="connsiteX0" fmla="*/ 0 w 817066"/>
                  <a:gd name="connsiteY0" fmla="*/ 0 h 894507"/>
                  <a:gd name="connsiteX1" fmla="*/ 808080 w 817066"/>
                  <a:gd name="connsiteY1" fmla="*/ 0 h 894507"/>
                  <a:gd name="connsiteX2" fmla="*/ 817066 w 817066"/>
                  <a:gd name="connsiteY2" fmla="*/ 889731 h 894507"/>
                  <a:gd name="connsiteX3" fmla="*/ 700286 w 817066"/>
                  <a:gd name="connsiteY3" fmla="*/ 871031 h 894507"/>
                  <a:gd name="connsiteX4" fmla="*/ 694456 w 817066"/>
                  <a:gd name="connsiteY4" fmla="*/ 507959 h 894507"/>
                  <a:gd name="connsiteX5" fmla="*/ 0 w 817066"/>
                  <a:gd name="connsiteY5" fmla="*/ 513370 h 894507"/>
                  <a:gd name="connsiteX6" fmla="*/ 171306 w 817066"/>
                  <a:gd name="connsiteY6" fmla="*/ 256685 h 894507"/>
                  <a:gd name="connsiteX7" fmla="*/ 0 w 817066"/>
                  <a:gd name="connsiteY7" fmla="*/ 0 h 894507"/>
                  <a:gd name="connsiteX0" fmla="*/ 0 w 817066"/>
                  <a:gd name="connsiteY0" fmla="*/ 0 h 889731"/>
                  <a:gd name="connsiteX1" fmla="*/ 808080 w 817066"/>
                  <a:gd name="connsiteY1" fmla="*/ 0 h 889731"/>
                  <a:gd name="connsiteX2" fmla="*/ 817066 w 817066"/>
                  <a:gd name="connsiteY2" fmla="*/ 889731 h 889731"/>
                  <a:gd name="connsiteX3" fmla="*/ 700286 w 817066"/>
                  <a:gd name="connsiteY3" fmla="*/ 871031 h 889731"/>
                  <a:gd name="connsiteX4" fmla="*/ 694456 w 817066"/>
                  <a:gd name="connsiteY4" fmla="*/ 507959 h 889731"/>
                  <a:gd name="connsiteX5" fmla="*/ 0 w 817066"/>
                  <a:gd name="connsiteY5" fmla="*/ 513370 h 889731"/>
                  <a:gd name="connsiteX6" fmla="*/ 171306 w 817066"/>
                  <a:gd name="connsiteY6" fmla="*/ 256685 h 889731"/>
                  <a:gd name="connsiteX7" fmla="*/ 0 w 817066"/>
                  <a:gd name="connsiteY7" fmla="*/ 0 h 889731"/>
                  <a:gd name="connsiteX0" fmla="*/ 0 w 817066"/>
                  <a:gd name="connsiteY0" fmla="*/ 0 h 889731"/>
                  <a:gd name="connsiteX1" fmla="*/ 808080 w 817066"/>
                  <a:gd name="connsiteY1" fmla="*/ 0 h 889731"/>
                  <a:gd name="connsiteX2" fmla="*/ 817066 w 817066"/>
                  <a:gd name="connsiteY2" fmla="*/ 889731 h 889731"/>
                  <a:gd name="connsiteX3" fmla="*/ 700286 w 817066"/>
                  <a:gd name="connsiteY3" fmla="*/ 871031 h 889731"/>
                  <a:gd name="connsiteX4" fmla="*/ 694456 w 817066"/>
                  <a:gd name="connsiteY4" fmla="*/ 507959 h 889731"/>
                  <a:gd name="connsiteX5" fmla="*/ 0 w 817066"/>
                  <a:gd name="connsiteY5" fmla="*/ 513370 h 889731"/>
                  <a:gd name="connsiteX6" fmla="*/ 171306 w 817066"/>
                  <a:gd name="connsiteY6" fmla="*/ 256685 h 889731"/>
                  <a:gd name="connsiteX7" fmla="*/ 0 w 817066"/>
                  <a:gd name="connsiteY7" fmla="*/ 0 h 889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7066" h="889731">
                    <a:moveTo>
                      <a:pt x="0" y="0"/>
                    </a:moveTo>
                    <a:lnTo>
                      <a:pt x="808080" y="0"/>
                    </a:lnTo>
                    <a:cubicBezTo>
                      <a:pt x="811075" y="296577"/>
                      <a:pt x="814071" y="593154"/>
                      <a:pt x="817066" y="889731"/>
                    </a:cubicBezTo>
                    <a:cubicBezTo>
                      <a:pt x="751086" y="876283"/>
                      <a:pt x="744624" y="879068"/>
                      <a:pt x="700286" y="871031"/>
                    </a:cubicBezTo>
                    <a:cubicBezTo>
                      <a:pt x="698343" y="750007"/>
                      <a:pt x="696399" y="628983"/>
                      <a:pt x="694456" y="507959"/>
                    </a:cubicBezTo>
                    <a:lnTo>
                      <a:pt x="0" y="513370"/>
                    </a:lnTo>
                    <a:lnTo>
                      <a:pt x="171306" y="25668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de-DE" sz="1000" err="1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AAD20311-4BAF-447D-8D3D-60A9E312C46B}"/>
              </a:ext>
            </a:extLst>
          </p:cNvPr>
          <p:cNvGrpSpPr/>
          <p:nvPr/>
        </p:nvGrpSpPr>
        <p:grpSpPr>
          <a:xfrm>
            <a:off x="257185" y="4946119"/>
            <a:ext cx="11596965" cy="1397780"/>
            <a:chOff x="265181" y="4946119"/>
            <a:chExt cx="11596965" cy="1397780"/>
          </a:xfrm>
        </p:grpSpPr>
        <p:sp>
          <p:nvSpPr>
            <p:cNvPr id="28" name="Google Shape;51;p5">
              <a:extLst>
                <a:ext uri="{FF2B5EF4-FFF2-40B4-BE49-F238E27FC236}">
                  <a16:creationId xmlns:a16="http://schemas.microsoft.com/office/drawing/2014/main" id="{51FCEDDE-E872-6246-BB82-D889DA6B687F}"/>
                </a:ext>
              </a:extLst>
            </p:cNvPr>
            <p:cNvSpPr txBox="1"/>
            <p:nvPr/>
          </p:nvSpPr>
          <p:spPr>
            <a:xfrm>
              <a:off x="1785059" y="4946119"/>
              <a:ext cx="10071978" cy="36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de-DE"/>
              </a:defPPr>
              <a:lvl1pPr marR="0" lvl="0" indent="0" algn="ctr">
                <a:spcBef>
                  <a:spcPts val="0"/>
                </a:spcBef>
                <a:spcAft>
                  <a:spcPts val="0"/>
                </a:spcAft>
                <a:buNone/>
                <a:defRPr sz="1600" b="1" u="none" strike="noStrike" cap="none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de-DE" sz="1500" b="0">
                  <a:sym typeface="Arial"/>
                </a:rPr>
                <a:t>Unternehmen &amp; Sponsoren</a:t>
              </a:r>
              <a:endParaRPr sz="1500" b="0"/>
            </a:p>
          </p:txBody>
        </p:sp>
        <p:sp>
          <p:nvSpPr>
            <p:cNvPr id="29" name="Google Shape;51;p5">
              <a:extLst>
                <a:ext uri="{FF2B5EF4-FFF2-40B4-BE49-F238E27FC236}">
                  <a16:creationId xmlns:a16="http://schemas.microsoft.com/office/drawing/2014/main" id="{3A901CB8-3B1A-E845-8614-9BD8E64CF67A}"/>
                </a:ext>
              </a:extLst>
            </p:cNvPr>
            <p:cNvSpPr txBox="1"/>
            <p:nvPr/>
          </p:nvSpPr>
          <p:spPr>
            <a:xfrm>
              <a:off x="1785060" y="5469675"/>
              <a:ext cx="10071978" cy="36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de-DE"/>
              </a:defPPr>
              <a:lvl1pPr marR="0" lvl="0" indent="0" algn="ctr">
                <a:spcBef>
                  <a:spcPts val="0"/>
                </a:spcBef>
                <a:spcAft>
                  <a:spcPts val="0"/>
                </a:spcAft>
                <a:buNone/>
                <a:defRPr sz="1600" b="1" u="none" strike="noStrike" cap="none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de-DE" sz="1500" b="0">
                  <a:sym typeface="Arial"/>
                </a:rPr>
                <a:t>Professoren der ESB Business School</a:t>
              </a:r>
              <a:endParaRPr sz="1500" b="0"/>
            </a:p>
          </p:txBody>
        </p:sp>
        <p:sp>
          <p:nvSpPr>
            <p:cNvPr id="30" name="Google Shape;51;p5">
              <a:extLst>
                <a:ext uri="{FF2B5EF4-FFF2-40B4-BE49-F238E27FC236}">
                  <a16:creationId xmlns:a16="http://schemas.microsoft.com/office/drawing/2014/main" id="{CCFE4AD5-FE65-D347-8831-37BED10E2C16}"/>
                </a:ext>
              </a:extLst>
            </p:cNvPr>
            <p:cNvSpPr txBox="1"/>
            <p:nvPr/>
          </p:nvSpPr>
          <p:spPr>
            <a:xfrm>
              <a:off x="1779934" y="5983899"/>
              <a:ext cx="10082212" cy="36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de-DE"/>
              </a:defPPr>
              <a:lvl1pPr marR="0" lvl="0" indent="0" algn="ctr">
                <a:spcBef>
                  <a:spcPts val="0"/>
                </a:spcBef>
                <a:spcAft>
                  <a:spcPts val="0"/>
                </a:spcAft>
                <a:buNone/>
                <a:defRPr sz="1600" b="1" u="none" strike="noStrike" cap="none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de-DE" sz="1500" b="0">
                  <a:sym typeface="Arial"/>
                </a:rPr>
                <a:t>Alumni und Studierende der ESB Business School</a:t>
              </a:r>
              <a:endParaRPr sz="1500" b="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265181" y="4946119"/>
              <a:ext cx="1338253" cy="138844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24000" rtlCol="0" anchor="t"/>
            <a:lstStyle/>
            <a:p>
              <a:pPr algn="ctr"/>
              <a:r>
                <a:rPr lang="de-DE" sz="1600" b="1">
                  <a:latin typeface="Open Sans" panose="020B0606030504020204"/>
                </a:rPr>
                <a:t>Initiatoren</a:t>
              </a:r>
            </a:p>
          </p:txBody>
        </p:sp>
      </p:grpSp>
      <p:grpSp>
        <p:nvGrpSpPr>
          <p:cNvPr id="64" name="Gruppieren 63"/>
          <p:cNvGrpSpPr>
            <a:grpSpLocks noChangeAspect="1"/>
          </p:cNvGrpSpPr>
          <p:nvPr/>
        </p:nvGrpSpPr>
        <p:grpSpPr>
          <a:xfrm>
            <a:off x="821191" y="5673678"/>
            <a:ext cx="281946" cy="288000"/>
            <a:chOff x="2574836" y="257788"/>
            <a:chExt cx="1500515" cy="1532732"/>
          </a:xfrm>
          <a:solidFill>
            <a:schemeClr val="bg1"/>
          </a:solidFill>
        </p:grpSpPr>
        <p:sp>
          <p:nvSpPr>
            <p:cNvPr id="65" name="Freihandform 64"/>
            <p:cNvSpPr/>
            <p:nvPr/>
          </p:nvSpPr>
          <p:spPr>
            <a:xfrm>
              <a:off x="3203504" y="712620"/>
              <a:ext cx="871847" cy="1077900"/>
            </a:xfrm>
            <a:custGeom>
              <a:avLst/>
              <a:gdLst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0978"/>
                <a:gd name="connsiteY0" fmla="*/ 0 h 1077868"/>
                <a:gd name="connsiteX1" fmla="*/ 390791 w 870978"/>
                <a:gd name="connsiteY1" fmla="*/ 211998 h 1077868"/>
                <a:gd name="connsiteX2" fmla="*/ 528717 w 870978"/>
                <a:gd name="connsiteY2" fmla="*/ 2554 h 1077868"/>
                <a:gd name="connsiteX3" fmla="*/ 602788 w 870978"/>
                <a:gd name="connsiteY3" fmla="*/ 12771 h 1077868"/>
                <a:gd name="connsiteX4" fmla="*/ 814786 w 870978"/>
                <a:gd name="connsiteY4" fmla="*/ 196673 h 1077868"/>
                <a:gd name="connsiteX5" fmla="*/ 870978 w 870978"/>
                <a:gd name="connsiteY5" fmla="*/ 446983 h 1077868"/>
                <a:gd name="connsiteX6" fmla="*/ 812232 w 870978"/>
                <a:gd name="connsiteY6" fmla="*/ 544042 h 1077868"/>
                <a:gd name="connsiteX7" fmla="*/ 702402 w 870978"/>
                <a:gd name="connsiteY7" fmla="*/ 495513 h 1077868"/>
                <a:gd name="connsiteX8" fmla="*/ 666643 w 870978"/>
                <a:gd name="connsiteY8" fmla="*/ 291178 h 1077868"/>
                <a:gd name="connsiteX9" fmla="*/ 628330 w 870978"/>
                <a:gd name="connsiteY9" fmla="*/ 257973 h 1077868"/>
                <a:gd name="connsiteX10" fmla="*/ 633439 w 870978"/>
                <a:gd name="connsiteY10" fmla="*/ 975701 h 1077868"/>
                <a:gd name="connsiteX11" fmla="*/ 551705 w 870978"/>
                <a:gd name="connsiteY11" fmla="*/ 1077868 h 1077868"/>
                <a:gd name="connsiteX12" fmla="*/ 439320 w 870978"/>
                <a:gd name="connsiteY12" fmla="*/ 985917 h 1077868"/>
                <a:gd name="connsiteX13" fmla="*/ 444429 w 870978"/>
                <a:gd name="connsiteY13" fmla="*/ 597680 h 1077868"/>
                <a:gd name="connsiteX14" fmla="*/ 334598 w 870978"/>
                <a:gd name="connsiteY14" fmla="*/ 584909 h 1077868"/>
                <a:gd name="connsiteX15" fmla="*/ 334598 w 870978"/>
                <a:gd name="connsiteY15" fmla="*/ 975701 h 1077868"/>
                <a:gd name="connsiteX16" fmla="*/ 252864 w 870978"/>
                <a:gd name="connsiteY16" fmla="*/ 1077868 h 1077868"/>
                <a:gd name="connsiteX17" fmla="*/ 137926 w 870978"/>
                <a:gd name="connsiteY17" fmla="*/ 983363 h 1077868"/>
                <a:gd name="connsiteX18" fmla="*/ 143034 w 870978"/>
                <a:gd name="connsiteY18" fmla="*/ 204335 h 1077868"/>
                <a:gd name="connsiteX19" fmla="*/ 0 w 870978"/>
                <a:gd name="connsiteY19" fmla="*/ 234985 h 1077868"/>
                <a:gd name="connsiteX20" fmla="*/ 0 w 870978"/>
                <a:gd name="connsiteY20" fmla="*/ 74072 h 1077868"/>
                <a:gd name="connsiteX21" fmla="*/ 240093 w 870978"/>
                <a:gd name="connsiteY21" fmla="*/ 0 h 1077868"/>
                <a:gd name="connsiteX0" fmla="*/ 240093 w 871493"/>
                <a:gd name="connsiteY0" fmla="*/ 0 h 1077868"/>
                <a:gd name="connsiteX1" fmla="*/ 390791 w 871493"/>
                <a:gd name="connsiteY1" fmla="*/ 211998 h 1077868"/>
                <a:gd name="connsiteX2" fmla="*/ 528717 w 871493"/>
                <a:gd name="connsiteY2" fmla="*/ 2554 h 1077868"/>
                <a:gd name="connsiteX3" fmla="*/ 602788 w 871493"/>
                <a:gd name="connsiteY3" fmla="*/ 12771 h 1077868"/>
                <a:gd name="connsiteX4" fmla="*/ 814786 w 871493"/>
                <a:gd name="connsiteY4" fmla="*/ 196673 h 1077868"/>
                <a:gd name="connsiteX5" fmla="*/ 870978 w 871493"/>
                <a:gd name="connsiteY5" fmla="*/ 446983 h 1077868"/>
                <a:gd name="connsiteX6" fmla="*/ 812232 w 871493"/>
                <a:gd name="connsiteY6" fmla="*/ 544042 h 1077868"/>
                <a:gd name="connsiteX7" fmla="*/ 702402 w 871493"/>
                <a:gd name="connsiteY7" fmla="*/ 495513 h 1077868"/>
                <a:gd name="connsiteX8" fmla="*/ 666643 w 871493"/>
                <a:gd name="connsiteY8" fmla="*/ 291178 h 1077868"/>
                <a:gd name="connsiteX9" fmla="*/ 628330 w 871493"/>
                <a:gd name="connsiteY9" fmla="*/ 257973 h 1077868"/>
                <a:gd name="connsiteX10" fmla="*/ 633439 w 871493"/>
                <a:gd name="connsiteY10" fmla="*/ 975701 h 1077868"/>
                <a:gd name="connsiteX11" fmla="*/ 551705 w 871493"/>
                <a:gd name="connsiteY11" fmla="*/ 1077868 h 1077868"/>
                <a:gd name="connsiteX12" fmla="*/ 439320 w 871493"/>
                <a:gd name="connsiteY12" fmla="*/ 985917 h 1077868"/>
                <a:gd name="connsiteX13" fmla="*/ 444429 w 871493"/>
                <a:gd name="connsiteY13" fmla="*/ 597680 h 1077868"/>
                <a:gd name="connsiteX14" fmla="*/ 334598 w 871493"/>
                <a:gd name="connsiteY14" fmla="*/ 584909 h 1077868"/>
                <a:gd name="connsiteX15" fmla="*/ 334598 w 871493"/>
                <a:gd name="connsiteY15" fmla="*/ 975701 h 1077868"/>
                <a:gd name="connsiteX16" fmla="*/ 252864 w 871493"/>
                <a:gd name="connsiteY16" fmla="*/ 1077868 h 1077868"/>
                <a:gd name="connsiteX17" fmla="*/ 137926 w 871493"/>
                <a:gd name="connsiteY17" fmla="*/ 983363 h 1077868"/>
                <a:gd name="connsiteX18" fmla="*/ 143034 w 871493"/>
                <a:gd name="connsiteY18" fmla="*/ 204335 h 1077868"/>
                <a:gd name="connsiteX19" fmla="*/ 0 w 871493"/>
                <a:gd name="connsiteY19" fmla="*/ 234985 h 1077868"/>
                <a:gd name="connsiteX20" fmla="*/ 0 w 871493"/>
                <a:gd name="connsiteY20" fmla="*/ 74072 h 1077868"/>
                <a:gd name="connsiteX21" fmla="*/ 240093 w 871493"/>
                <a:gd name="connsiteY21" fmla="*/ 0 h 1077868"/>
                <a:gd name="connsiteX0" fmla="*/ 240093 w 871493"/>
                <a:gd name="connsiteY0" fmla="*/ 0 h 1077868"/>
                <a:gd name="connsiteX1" fmla="*/ 390791 w 871493"/>
                <a:gd name="connsiteY1" fmla="*/ 211998 h 1077868"/>
                <a:gd name="connsiteX2" fmla="*/ 528717 w 871493"/>
                <a:gd name="connsiteY2" fmla="*/ 2554 h 1077868"/>
                <a:gd name="connsiteX3" fmla="*/ 602788 w 871493"/>
                <a:gd name="connsiteY3" fmla="*/ 12771 h 1077868"/>
                <a:gd name="connsiteX4" fmla="*/ 814786 w 871493"/>
                <a:gd name="connsiteY4" fmla="*/ 196673 h 1077868"/>
                <a:gd name="connsiteX5" fmla="*/ 870978 w 871493"/>
                <a:gd name="connsiteY5" fmla="*/ 446983 h 1077868"/>
                <a:gd name="connsiteX6" fmla="*/ 812232 w 871493"/>
                <a:gd name="connsiteY6" fmla="*/ 544042 h 1077868"/>
                <a:gd name="connsiteX7" fmla="*/ 702402 w 871493"/>
                <a:gd name="connsiteY7" fmla="*/ 495513 h 1077868"/>
                <a:gd name="connsiteX8" fmla="*/ 666643 w 871493"/>
                <a:gd name="connsiteY8" fmla="*/ 291178 h 1077868"/>
                <a:gd name="connsiteX9" fmla="*/ 628330 w 871493"/>
                <a:gd name="connsiteY9" fmla="*/ 257973 h 1077868"/>
                <a:gd name="connsiteX10" fmla="*/ 633439 w 871493"/>
                <a:gd name="connsiteY10" fmla="*/ 975701 h 1077868"/>
                <a:gd name="connsiteX11" fmla="*/ 551705 w 871493"/>
                <a:gd name="connsiteY11" fmla="*/ 1077868 h 1077868"/>
                <a:gd name="connsiteX12" fmla="*/ 439320 w 871493"/>
                <a:gd name="connsiteY12" fmla="*/ 985917 h 1077868"/>
                <a:gd name="connsiteX13" fmla="*/ 444429 w 871493"/>
                <a:gd name="connsiteY13" fmla="*/ 597680 h 1077868"/>
                <a:gd name="connsiteX14" fmla="*/ 334598 w 871493"/>
                <a:gd name="connsiteY14" fmla="*/ 584909 h 1077868"/>
                <a:gd name="connsiteX15" fmla="*/ 334598 w 871493"/>
                <a:gd name="connsiteY15" fmla="*/ 975701 h 1077868"/>
                <a:gd name="connsiteX16" fmla="*/ 252864 w 871493"/>
                <a:gd name="connsiteY16" fmla="*/ 1077868 h 1077868"/>
                <a:gd name="connsiteX17" fmla="*/ 137926 w 871493"/>
                <a:gd name="connsiteY17" fmla="*/ 983363 h 1077868"/>
                <a:gd name="connsiteX18" fmla="*/ 143034 w 871493"/>
                <a:gd name="connsiteY18" fmla="*/ 204335 h 1077868"/>
                <a:gd name="connsiteX19" fmla="*/ 0 w 871493"/>
                <a:gd name="connsiteY19" fmla="*/ 234985 h 1077868"/>
                <a:gd name="connsiteX20" fmla="*/ 0 w 871493"/>
                <a:gd name="connsiteY20" fmla="*/ 74072 h 1077868"/>
                <a:gd name="connsiteX21" fmla="*/ 240093 w 871493"/>
                <a:gd name="connsiteY21" fmla="*/ 0 h 1077868"/>
                <a:gd name="connsiteX0" fmla="*/ 240093 w 871847"/>
                <a:gd name="connsiteY0" fmla="*/ 0 h 1077868"/>
                <a:gd name="connsiteX1" fmla="*/ 390791 w 871847"/>
                <a:gd name="connsiteY1" fmla="*/ 211998 h 1077868"/>
                <a:gd name="connsiteX2" fmla="*/ 528717 w 871847"/>
                <a:gd name="connsiteY2" fmla="*/ 2554 h 1077868"/>
                <a:gd name="connsiteX3" fmla="*/ 602788 w 871847"/>
                <a:gd name="connsiteY3" fmla="*/ 12771 h 1077868"/>
                <a:gd name="connsiteX4" fmla="*/ 814786 w 871847"/>
                <a:gd name="connsiteY4" fmla="*/ 196673 h 1077868"/>
                <a:gd name="connsiteX5" fmla="*/ 870978 w 871847"/>
                <a:gd name="connsiteY5" fmla="*/ 446983 h 1077868"/>
                <a:gd name="connsiteX6" fmla="*/ 812232 w 871847"/>
                <a:gd name="connsiteY6" fmla="*/ 544042 h 1077868"/>
                <a:gd name="connsiteX7" fmla="*/ 702402 w 871847"/>
                <a:gd name="connsiteY7" fmla="*/ 495513 h 1077868"/>
                <a:gd name="connsiteX8" fmla="*/ 666643 w 871847"/>
                <a:gd name="connsiteY8" fmla="*/ 291178 h 1077868"/>
                <a:gd name="connsiteX9" fmla="*/ 628330 w 871847"/>
                <a:gd name="connsiteY9" fmla="*/ 257973 h 1077868"/>
                <a:gd name="connsiteX10" fmla="*/ 633439 w 871847"/>
                <a:gd name="connsiteY10" fmla="*/ 975701 h 1077868"/>
                <a:gd name="connsiteX11" fmla="*/ 551705 w 871847"/>
                <a:gd name="connsiteY11" fmla="*/ 1077868 h 1077868"/>
                <a:gd name="connsiteX12" fmla="*/ 439320 w 871847"/>
                <a:gd name="connsiteY12" fmla="*/ 985917 h 1077868"/>
                <a:gd name="connsiteX13" fmla="*/ 444429 w 871847"/>
                <a:gd name="connsiteY13" fmla="*/ 597680 h 1077868"/>
                <a:gd name="connsiteX14" fmla="*/ 334598 w 871847"/>
                <a:gd name="connsiteY14" fmla="*/ 584909 h 1077868"/>
                <a:gd name="connsiteX15" fmla="*/ 334598 w 871847"/>
                <a:gd name="connsiteY15" fmla="*/ 975701 h 1077868"/>
                <a:gd name="connsiteX16" fmla="*/ 252864 w 871847"/>
                <a:gd name="connsiteY16" fmla="*/ 1077868 h 1077868"/>
                <a:gd name="connsiteX17" fmla="*/ 137926 w 871847"/>
                <a:gd name="connsiteY17" fmla="*/ 983363 h 1077868"/>
                <a:gd name="connsiteX18" fmla="*/ 143034 w 871847"/>
                <a:gd name="connsiteY18" fmla="*/ 204335 h 1077868"/>
                <a:gd name="connsiteX19" fmla="*/ 0 w 871847"/>
                <a:gd name="connsiteY19" fmla="*/ 234985 h 1077868"/>
                <a:gd name="connsiteX20" fmla="*/ 0 w 871847"/>
                <a:gd name="connsiteY20" fmla="*/ 74072 h 1077868"/>
                <a:gd name="connsiteX21" fmla="*/ 240093 w 871847"/>
                <a:gd name="connsiteY21" fmla="*/ 0 h 1077868"/>
                <a:gd name="connsiteX0" fmla="*/ 240093 w 871847"/>
                <a:gd name="connsiteY0" fmla="*/ 0 h 1077868"/>
                <a:gd name="connsiteX1" fmla="*/ 390791 w 871847"/>
                <a:gd name="connsiteY1" fmla="*/ 211998 h 1077868"/>
                <a:gd name="connsiteX2" fmla="*/ 528717 w 871847"/>
                <a:gd name="connsiteY2" fmla="*/ 2554 h 1077868"/>
                <a:gd name="connsiteX3" fmla="*/ 602788 w 871847"/>
                <a:gd name="connsiteY3" fmla="*/ 12771 h 1077868"/>
                <a:gd name="connsiteX4" fmla="*/ 814786 w 871847"/>
                <a:gd name="connsiteY4" fmla="*/ 196673 h 1077868"/>
                <a:gd name="connsiteX5" fmla="*/ 870978 w 871847"/>
                <a:gd name="connsiteY5" fmla="*/ 446983 h 1077868"/>
                <a:gd name="connsiteX6" fmla="*/ 812232 w 871847"/>
                <a:gd name="connsiteY6" fmla="*/ 544042 h 1077868"/>
                <a:gd name="connsiteX7" fmla="*/ 702402 w 871847"/>
                <a:gd name="connsiteY7" fmla="*/ 495513 h 1077868"/>
                <a:gd name="connsiteX8" fmla="*/ 666643 w 871847"/>
                <a:gd name="connsiteY8" fmla="*/ 291178 h 1077868"/>
                <a:gd name="connsiteX9" fmla="*/ 628330 w 871847"/>
                <a:gd name="connsiteY9" fmla="*/ 257973 h 1077868"/>
                <a:gd name="connsiteX10" fmla="*/ 633439 w 871847"/>
                <a:gd name="connsiteY10" fmla="*/ 975701 h 1077868"/>
                <a:gd name="connsiteX11" fmla="*/ 551705 w 871847"/>
                <a:gd name="connsiteY11" fmla="*/ 1077868 h 1077868"/>
                <a:gd name="connsiteX12" fmla="*/ 439320 w 871847"/>
                <a:gd name="connsiteY12" fmla="*/ 985917 h 1077868"/>
                <a:gd name="connsiteX13" fmla="*/ 444429 w 871847"/>
                <a:gd name="connsiteY13" fmla="*/ 597680 h 1077868"/>
                <a:gd name="connsiteX14" fmla="*/ 334598 w 871847"/>
                <a:gd name="connsiteY14" fmla="*/ 584909 h 1077868"/>
                <a:gd name="connsiteX15" fmla="*/ 334598 w 871847"/>
                <a:gd name="connsiteY15" fmla="*/ 975701 h 1077868"/>
                <a:gd name="connsiteX16" fmla="*/ 252864 w 871847"/>
                <a:gd name="connsiteY16" fmla="*/ 1077868 h 1077868"/>
                <a:gd name="connsiteX17" fmla="*/ 137926 w 871847"/>
                <a:gd name="connsiteY17" fmla="*/ 983363 h 1077868"/>
                <a:gd name="connsiteX18" fmla="*/ 143034 w 871847"/>
                <a:gd name="connsiteY18" fmla="*/ 204335 h 1077868"/>
                <a:gd name="connsiteX19" fmla="*/ 0 w 871847"/>
                <a:gd name="connsiteY19" fmla="*/ 234985 h 1077868"/>
                <a:gd name="connsiteX20" fmla="*/ 0 w 871847"/>
                <a:gd name="connsiteY20" fmla="*/ 74072 h 1077868"/>
                <a:gd name="connsiteX21" fmla="*/ 240093 w 871847"/>
                <a:gd name="connsiteY21" fmla="*/ 0 h 1077868"/>
                <a:gd name="connsiteX0" fmla="*/ 240093 w 871847"/>
                <a:gd name="connsiteY0" fmla="*/ 0 h 1077868"/>
                <a:gd name="connsiteX1" fmla="*/ 390791 w 871847"/>
                <a:gd name="connsiteY1" fmla="*/ 211998 h 1077868"/>
                <a:gd name="connsiteX2" fmla="*/ 528717 w 871847"/>
                <a:gd name="connsiteY2" fmla="*/ 2554 h 1077868"/>
                <a:gd name="connsiteX3" fmla="*/ 602788 w 871847"/>
                <a:gd name="connsiteY3" fmla="*/ 12771 h 1077868"/>
                <a:gd name="connsiteX4" fmla="*/ 814786 w 871847"/>
                <a:gd name="connsiteY4" fmla="*/ 196673 h 1077868"/>
                <a:gd name="connsiteX5" fmla="*/ 870978 w 871847"/>
                <a:gd name="connsiteY5" fmla="*/ 446983 h 1077868"/>
                <a:gd name="connsiteX6" fmla="*/ 812232 w 871847"/>
                <a:gd name="connsiteY6" fmla="*/ 544042 h 1077868"/>
                <a:gd name="connsiteX7" fmla="*/ 702402 w 871847"/>
                <a:gd name="connsiteY7" fmla="*/ 495513 h 1077868"/>
                <a:gd name="connsiteX8" fmla="*/ 666643 w 871847"/>
                <a:gd name="connsiteY8" fmla="*/ 291178 h 1077868"/>
                <a:gd name="connsiteX9" fmla="*/ 628330 w 871847"/>
                <a:gd name="connsiteY9" fmla="*/ 257973 h 1077868"/>
                <a:gd name="connsiteX10" fmla="*/ 633439 w 871847"/>
                <a:gd name="connsiteY10" fmla="*/ 975701 h 1077868"/>
                <a:gd name="connsiteX11" fmla="*/ 551705 w 871847"/>
                <a:gd name="connsiteY11" fmla="*/ 1077868 h 1077868"/>
                <a:gd name="connsiteX12" fmla="*/ 439320 w 871847"/>
                <a:gd name="connsiteY12" fmla="*/ 985917 h 1077868"/>
                <a:gd name="connsiteX13" fmla="*/ 444429 w 871847"/>
                <a:gd name="connsiteY13" fmla="*/ 597680 h 1077868"/>
                <a:gd name="connsiteX14" fmla="*/ 334598 w 871847"/>
                <a:gd name="connsiteY14" fmla="*/ 584909 h 1077868"/>
                <a:gd name="connsiteX15" fmla="*/ 334598 w 871847"/>
                <a:gd name="connsiteY15" fmla="*/ 984167 h 1077868"/>
                <a:gd name="connsiteX16" fmla="*/ 252864 w 871847"/>
                <a:gd name="connsiteY16" fmla="*/ 1077868 h 1077868"/>
                <a:gd name="connsiteX17" fmla="*/ 137926 w 871847"/>
                <a:gd name="connsiteY17" fmla="*/ 983363 h 1077868"/>
                <a:gd name="connsiteX18" fmla="*/ 143034 w 871847"/>
                <a:gd name="connsiteY18" fmla="*/ 204335 h 1077868"/>
                <a:gd name="connsiteX19" fmla="*/ 0 w 871847"/>
                <a:gd name="connsiteY19" fmla="*/ 234985 h 1077868"/>
                <a:gd name="connsiteX20" fmla="*/ 0 w 871847"/>
                <a:gd name="connsiteY20" fmla="*/ 74072 h 1077868"/>
                <a:gd name="connsiteX21" fmla="*/ 240093 w 871847"/>
                <a:gd name="connsiteY21" fmla="*/ 0 h 1077868"/>
                <a:gd name="connsiteX0" fmla="*/ 240093 w 871847"/>
                <a:gd name="connsiteY0" fmla="*/ 0 h 1077868"/>
                <a:gd name="connsiteX1" fmla="*/ 390791 w 871847"/>
                <a:gd name="connsiteY1" fmla="*/ 211998 h 1077868"/>
                <a:gd name="connsiteX2" fmla="*/ 528717 w 871847"/>
                <a:gd name="connsiteY2" fmla="*/ 2554 h 1077868"/>
                <a:gd name="connsiteX3" fmla="*/ 602788 w 871847"/>
                <a:gd name="connsiteY3" fmla="*/ 12771 h 1077868"/>
                <a:gd name="connsiteX4" fmla="*/ 814786 w 871847"/>
                <a:gd name="connsiteY4" fmla="*/ 196673 h 1077868"/>
                <a:gd name="connsiteX5" fmla="*/ 870978 w 871847"/>
                <a:gd name="connsiteY5" fmla="*/ 446983 h 1077868"/>
                <a:gd name="connsiteX6" fmla="*/ 812232 w 871847"/>
                <a:gd name="connsiteY6" fmla="*/ 544042 h 1077868"/>
                <a:gd name="connsiteX7" fmla="*/ 702402 w 871847"/>
                <a:gd name="connsiteY7" fmla="*/ 495513 h 1077868"/>
                <a:gd name="connsiteX8" fmla="*/ 666643 w 871847"/>
                <a:gd name="connsiteY8" fmla="*/ 291178 h 1077868"/>
                <a:gd name="connsiteX9" fmla="*/ 628330 w 871847"/>
                <a:gd name="connsiteY9" fmla="*/ 257973 h 1077868"/>
                <a:gd name="connsiteX10" fmla="*/ 633439 w 871847"/>
                <a:gd name="connsiteY10" fmla="*/ 975701 h 1077868"/>
                <a:gd name="connsiteX11" fmla="*/ 551705 w 871847"/>
                <a:gd name="connsiteY11" fmla="*/ 1077868 h 1077868"/>
                <a:gd name="connsiteX12" fmla="*/ 439320 w 871847"/>
                <a:gd name="connsiteY12" fmla="*/ 985917 h 1077868"/>
                <a:gd name="connsiteX13" fmla="*/ 444429 w 871847"/>
                <a:gd name="connsiteY13" fmla="*/ 597680 h 1077868"/>
                <a:gd name="connsiteX14" fmla="*/ 334598 w 871847"/>
                <a:gd name="connsiteY14" fmla="*/ 584909 h 1077868"/>
                <a:gd name="connsiteX15" fmla="*/ 334598 w 871847"/>
                <a:gd name="connsiteY15" fmla="*/ 984167 h 1077868"/>
                <a:gd name="connsiteX16" fmla="*/ 252864 w 871847"/>
                <a:gd name="connsiteY16" fmla="*/ 1077868 h 1077868"/>
                <a:gd name="connsiteX17" fmla="*/ 137926 w 871847"/>
                <a:gd name="connsiteY17" fmla="*/ 983363 h 1077868"/>
                <a:gd name="connsiteX18" fmla="*/ 143034 w 871847"/>
                <a:gd name="connsiteY18" fmla="*/ 204335 h 1077868"/>
                <a:gd name="connsiteX19" fmla="*/ 0 w 871847"/>
                <a:gd name="connsiteY19" fmla="*/ 234985 h 1077868"/>
                <a:gd name="connsiteX20" fmla="*/ 0 w 871847"/>
                <a:gd name="connsiteY20" fmla="*/ 74072 h 1077868"/>
                <a:gd name="connsiteX21" fmla="*/ 240093 w 871847"/>
                <a:gd name="connsiteY21" fmla="*/ 0 h 1077868"/>
                <a:gd name="connsiteX0" fmla="*/ 240093 w 871847"/>
                <a:gd name="connsiteY0" fmla="*/ 0 h 1077897"/>
                <a:gd name="connsiteX1" fmla="*/ 390791 w 871847"/>
                <a:gd name="connsiteY1" fmla="*/ 211998 h 1077897"/>
                <a:gd name="connsiteX2" fmla="*/ 528717 w 871847"/>
                <a:gd name="connsiteY2" fmla="*/ 2554 h 1077897"/>
                <a:gd name="connsiteX3" fmla="*/ 602788 w 871847"/>
                <a:gd name="connsiteY3" fmla="*/ 12771 h 1077897"/>
                <a:gd name="connsiteX4" fmla="*/ 814786 w 871847"/>
                <a:gd name="connsiteY4" fmla="*/ 196673 h 1077897"/>
                <a:gd name="connsiteX5" fmla="*/ 870978 w 871847"/>
                <a:gd name="connsiteY5" fmla="*/ 446983 h 1077897"/>
                <a:gd name="connsiteX6" fmla="*/ 812232 w 871847"/>
                <a:gd name="connsiteY6" fmla="*/ 544042 h 1077897"/>
                <a:gd name="connsiteX7" fmla="*/ 702402 w 871847"/>
                <a:gd name="connsiteY7" fmla="*/ 495513 h 1077897"/>
                <a:gd name="connsiteX8" fmla="*/ 666643 w 871847"/>
                <a:gd name="connsiteY8" fmla="*/ 291178 h 1077897"/>
                <a:gd name="connsiteX9" fmla="*/ 628330 w 871847"/>
                <a:gd name="connsiteY9" fmla="*/ 257973 h 1077897"/>
                <a:gd name="connsiteX10" fmla="*/ 633439 w 871847"/>
                <a:gd name="connsiteY10" fmla="*/ 975701 h 1077897"/>
                <a:gd name="connsiteX11" fmla="*/ 551705 w 871847"/>
                <a:gd name="connsiteY11" fmla="*/ 1077868 h 1077897"/>
                <a:gd name="connsiteX12" fmla="*/ 439320 w 871847"/>
                <a:gd name="connsiteY12" fmla="*/ 985917 h 1077897"/>
                <a:gd name="connsiteX13" fmla="*/ 444429 w 871847"/>
                <a:gd name="connsiteY13" fmla="*/ 597680 h 1077897"/>
                <a:gd name="connsiteX14" fmla="*/ 334598 w 871847"/>
                <a:gd name="connsiteY14" fmla="*/ 584909 h 1077897"/>
                <a:gd name="connsiteX15" fmla="*/ 334598 w 871847"/>
                <a:gd name="connsiteY15" fmla="*/ 984167 h 1077897"/>
                <a:gd name="connsiteX16" fmla="*/ 252864 w 871847"/>
                <a:gd name="connsiteY16" fmla="*/ 1077868 h 1077897"/>
                <a:gd name="connsiteX17" fmla="*/ 137926 w 871847"/>
                <a:gd name="connsiteY17" fmla="*/ 983363 h 1077897"/>
                <a:gd name="connsiteX18" fmla="*/ 143034 w 871847"/>
                <a:gd name="connsiteY18" fmla="*/ 204335 h 1077897"/>
                <a:gd name="connsiteX19" fmla="*/ 0 w 871847"/>
                <a:gd name="connsiteY19" fmla="*/ 234985 h 1077897"/>
                <a:gd name="connsiteX20" fmla="*/ 0 w 871847"/>
                <a:gd name="connsiteY20" fmla="*/ 74072 h 1077897"/>
                <a:gd name="connsiteX21" fmla="*/ 240093 w 871847"/>
                <a:gd name="connsiteY21" fmla="*/ 0 h 1077897"/>
                <a:gd name="connsiteX0" fmla="*/ 240093 w 871847"/>
                <a:gd name="connsiteY0" fmla="*/ 0 h 1077897"/>
                <a:gd name="connsiteX1" fmla="*/ 390791 w 871847"/>
                <a:gd name="connsiteY1" fmla="*/ 211998 h 1077897"/>
                <a:gd name="connsiteX2" fmla="*/ 528717 w 871847"/>
                <a:gd name="connsiteY2" fmla="*/ 2554 h 1077897"/>
                <a:gd name="connsiteX3" fmla="*/ 602788 w 871847"/>
                <a:gd name="connsiteY3" fmla="*/ 12771 h 1077897"/>
                <a:gd name="connsiteX4" fmla="*/ 814786 w 871847"/>
                <a:gd name="connsiteY4" fmla="*/ 196673 h 1077897"/>
                <a:gd name="connsiteX5" fmla="*/ 870978 w 871847"/>
                <a:gd name="connsiteY5" fmla="*/ 446983 h 1077897"/>
                <a:gd name="connsiteX6" fmla="*/ 812232 w 871847"/>
                <a:gd name="connsiteY6" fmla="*/ 544042 h 1077897"/>
                <a:gd name="connsiteX7" fmla="*/ 702402 w 871847"/>
                <a:gd name="connsiteY7" fmla="*/ 495513 h 1077897"/>
                <a:gd name="connsiteX8" fmla="*/ 666643 w 871847"/>
                <a:gd name="connsiteY8" fmla="*/ 291178 h 1077897"/>
                <a:gd name="connsiteX9" fmla="*/ 628330 w 871847"/>
                <a:gd name="connsiteY9" fmla="*/ 257973 h 1077897"/>
                <a:gd name="connsiteX10" fmla="*/ 633439 w 871847"/>
                <a:gd name="connsiteY10" fmla="*/ 975701 h 1077897"/>
                <a:gd name="connsiteX11" fmla="*/ 551705 w 871847"/>
                <a:gd name="connsiteY11" fmla="*/ 1077868 h 1077897"/>
                <a:gd name="connsiteX12" fmla="*/ 439320 w 871847"/>
                <a:gd name="connsiteY12" fmla="*/ 985917 h 1077897"/>
                <a:gd name="connsiteX13" fmla="*/ 444429 w 871847"/>
                <a:gd name="connsiteY13" fmla="*/ 597680 h 1077897"/>
                <a:gd name="connsiteX14" fmla="*/ 334598 w 871847"/>
                <a:gd name="connsiteY14" fmla="*/ 584909 h 1077897"/>
                <a:gd name="connsiteX15" fmla="*/ 334598 w 871847"/>
                <a:gd name="connsiteY15" fmla="*/ 984167 h 1077897"/>
                <a:gd name="connsiteX16" fmla="*/ 238047 w 871847"/>
                <a:gd name="connsiteY16" fmla="*/ 1077868 h 1077897"/>
                <a:gd name="connsiteX17" fmla="*/ 137926 w 871847"/>
                <a:gd name="connsiteY17" fmla="*/ 983363 h 1077897"/>
                <a:gd name="connsiteX18" fmla="*/ 143034 w 871847"/>
                <a:gd name="connsiteY18" fmla="*/ 204335 h 1077897"/>
                <a:gd name="connsiteX19" fmla="*/ 0 w 871847"/>
                <a:gd name="connsiteY19" fmla="*/ 234985 h 1077897"/>
                <a:gd name="connsiteX20" fmla="*/ 0 w 871847"/>
                <a:gd name="connsiteY20" fmla="*/ 74072 h 1077897"/>
                <a:gd name="connsiteX21" fmla="*/ 240093 w 871847"/>
                <a:gd name="connsiteY21" fmla="*/ 0 h 1077897"/>
                <a:gd name="connsiteX0" fmla="*/ 240093 w 871847"/>
                <a:gd name="connsiteY0" fmla="*/ 0 h 1077899"/>
                <a:gd name="connsiteX1" fmla="*/ 390791 w 871847"/>
                <a:gd name="connsiteY1" fmla="*/ 211998 h 1077899"/>
                <a:gd name="connsiteX2" fmla="*/ 528717 w 871847"/>
                <a:gd name="connsiteY2" fmla="*/ 2554 h 1077899"/>
                <a:gd name="connsiteX3" fmla="*/ 602788 w 871847"/>
                <a:gd name="connsiteY3" fmla="*/ 12771 h 1077899"/>
                <a:gd name="connsiteX4" fmla="*/ 814786 w 871847"/>
                <a:gd name="connsiteY4" fmla="*/ 196673 h 1077899"/>
                <a:gd name="connsiteX5" fmla="*/ 870978 w 871847"/>
                <a:gd name="connsiteY5" fmla="*/ 446983 h 1077899"/>
                <a:gd name="connsiteX6" fmla="*/ 812232 w 871847"/>
                <a:gd name="connsiteY6" fmla="*/ 544042 h 1077899"/>
                <a:gd name="connsiteX7" fmla="*/ 702402 w 871847"/>
                <a:gd name="connsiteY7" fmla="*/ 495513 h 1077899"/>
                <a:gd name="connsiteX8" fmla="*/ 666643 w 871847"/>
                <a:gd name="connsiteY8" fmla="*/ 291178 h 1077899"/>
                <a:gd name="connsiteX9" fmla="*/ 628330 w 871847"/>
                <a:gd name="connsiteY9" fmla="*/ 257973 h 1077899"/>
                <a:gd name="connsiteX10" fmla="*/ 633439 w 871847"/>
                <a:gd name="connsiteY10" fmla="*/ 975701 h 1077899"/>
                <a:gd name="connsiteX11" fmla="*/ 551705 w 871847"/>
                <a:gd name="connsiteY11" fmla="*/ 1077868 h 1077899"/>
                <a:gd name="connsiteX12" fmla="*/ 439320 w 871847"/>
                <a:gd name="connsiteY12" fmla="*/ 985917 h 1077899"/>
                <a:gd name="connsiteX13" fmla="*/ 444429 w 871847"/>
                <a:gd name="connsiteY13" fmla="*/ 597680 h 1077899"/>
                <a:gd name="connsiteX14" fmla="*/ 334598 w 871847"/>
                <a:gd name="connsiteY14" fmla="*/ 584909 h 1077899"/>
                <a:gd name="connsiteX15" fmla="*/ 334598 w 871847"/>
                <a:gd name="connsiteY15" fmla="*/ 984167 h 1077899"/>
                <a:gd name="connsiteX16" fmla="*/ 238047 w 871847"/>
                <a:gd name="connsiteY16" fmla="*/ 1077868 h 1077899"/>
                <a:gd name="connsiteX17" fmla="*/ 137926 w 871847"/>
                <a:gd name="connsiteY17" fmla="*/ 983363 h 1077899"/>
                <a:gd name="connsiteX18" fmla="*/ 143034 w 871847"/>
                <a:gd name="connsiteY18" fmla="*/ 204335 h 1077899"/>
                <a:gd name="connsiteX19" fmla="*/ 0 w 871847"/>
                <a:gd name="connsiteY19" fmla="*/ 234985 h 1077899"/>
                <a:gd name="connsiteX20" fmla="*/ 0 w 871847"/>
                <a:gd name="connsiteY20" fmla="*/ 74072 h 1077899"/>
                <a:gd name="connsiteX21" fmla="*/ 240093 w 871847"/>
                <a:gd name="connsiteY21" fmla="*/ 0 h 1077899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44429 w 871847"/>
                <a:gd name="connsiteY13" fmla="*/ 597680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44429 w 871847"/>
                <a:gd name="connsiteY13" fmla="*/ 597680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44429 w 871847"/>
                <a:gd name="connsiteY13" fmla="*/ 597680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44429 w 871847"/>
                <a:gd name="connsiteY13" fmla="*/ 597680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44429 w 871847"/>
                <a:gd name="connsiteY13" fmla="*/ 597680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4598 w 871847"/>
                <a:gd name="connsiteY14" fmla="*/ 584909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6715 w 871847"/>
                <a:gd name="connsiteY14" fmla="*/ 595493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6715 w 871847"/>
                <a:gd name="connsiteY14" fmla="*/ 595493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14786 w 871847"/>
                <a:gd name="connsiteY4" fmla="*/ 196673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6715 w 871847"/>
                <a:gd name="connsiteY14" fmla="*/ 595493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3973 h 1081873"/>
                <a:gd name="connsiteX1" fmla="*/ 390791 w 871847"/>
                <a:gd name="connsiteY1" fmla="*/ 215971 h 1081873"/>
                <a:gd name="connsiteX2" fmla="*/ 528717 w 871847"/>
                <a:gd name="connsiteY2" fmla="*/ 6527 h 1081873"/>
                <a:gd name="connsiteX3" fmla="*/ 602788 w 871847"/>
                <a:gd name="connsiteY3" fmla="*/ 16744 h 1081873"/>
                <a:gd name="connsiteX4" fmla="*/ 806319 w 871847"/>
                <a:gd name="connsiteY4" fmla="*/ 202763 h 1081873"/>
                <a:gd name="connsiteX5" fmla="*/ 870978 w 871847"/>
                <a:gd name="connsiteY5" fmla="*/ 450956 h 1081873"/>
                <a:gd name="connsiteX6" fmla="*/ 812232 w 871847"/>
                <a:gd name="connsiteY6" fmla="*/ 548015 h 1081873"/>
                <a:gd name="connsiteX7" fmla="*/ 702402 w 871847"/>
                <a:gd name="connsiteY7" fmla="*/ 499486 h 1081873"/>
                <a:gd name="connsiteX8" fmla="*/ 666643 w 871847"/>
                <a:gd name="connsiteY8" fmla="*/ 295151 h 1081873"/>
                <a:gd name="connsiteX9" fmla="*/ 628330 w 871847"/>
                <a:gd name="connsiteY9" fmla="*/ 261946 h 1081873"/>
                <a:gd name="connsiteX10" fmla="*/ 633439 w 871847"/>
                <a:gd name="connsiteY10" fmla="*/ 979674 h 1081873"/>
                <a:gd name="connsiteX11" fmla="*/ 551705 w 871847"/>
                <a:gd name="connsiteY11" fmla="*/ 1081841 h 1081873"/>
                <a:gd name="connsiteX12" fmla="*/ 439320 w 871847"/>
                <a:gd name="connsiteY12" fmla="*/ 989890 h 1081873"/>
                <a:gd name="connsiteX13" fmla="*/ 435963 w 871847"/>
                <a:gd name="connsiteY13" fmla="*/ 599536 h 1081873"/>
                <a:gd name="connsiteX14" fmla="*/ 336715 w 871847"/>
                <a:gd name="connsiteY14" fmla="*/ 599466 h 1081873"/>
                <a:gd name="connsiteX15" fmla="*/ 334598 w 871847"/>
                <a:gd name="connsiteY15" fmla="*/ 988140 h 1081873"/>
                <a:gd name="connsiteX16" fmla="*/ 238047 w 871847"/>
                <a:gd name="connsiteY16" fmla="*/ 1081841 h 1081873"/>
                <a:gd name="connsiteX17" fmla="*/ 137926 w 871847"/>
                <a:gd name="connsiteY17" fmla="*/ 987336 h 1081873"/>
                <a:gd name="connsiteX18" fmla="*/ 143034 w 871847"/>
                <a:gd name="connsiteY18" fmla="*/ 208308 h 1081873"/>
                <a:gd name="connsiteX19" fmla="*/ 0 w 871847"/>
                <a:gd name="connsiteY19" fmla="*/ 238958 h 1081873"/>
                <a:gd name="connsiteX20" fmla="*/ 0 w 871847"/>
                <a:gd name="connsiteY20" fmla="*/ 78045 h 1081873"/>
                <a:gd name="connsiteX21" fmla="*/ 240093 w 871847"/>
                <a:gd name="connsiteY21" fmla="*/ 3973 h 1081873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06319 w 871847"/>
                <a:gd name="connsiteY4" fmla="*/ 198790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6715 w 871847"/>
                <a:gd name="connsiteY14" fmla="*/ 595493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  <a:gd name="connsiteX0" fmla="*/ 240093 w 871847"/>
                <a:gd name="connsiteY0" fmla="*/ 0 h 1077900"/>
                <a:gd name="connsiteX1" fmla="*/ 390791 w 871847"/>
                <a:gd name="connsiteY1" fmla="*/ 211998 h 1077900"/>
                <a:gd name="connsiteX2" fmla="*/ 528717 w 871847"/>
                <a:gd name="connsiteY2" fmla="*/ 2554 h 1077900"/>
                <a:gd name="connsiteX3" fmla="*/ 602788 w 871847"/>
                <a:gd name="connsiteY3" fmla="*/ 12771 h 1077900"/>
                <a:gd name="connsiteX4" fmla="*/ 806319 w 871847"/>
                <a:gd name="connsiteY4" fmla="*/ 198790 h 1077900"/>
                <a:gd name="connsiteX5" fmla="*/ 870978 w 871847"/>
                <a:gd name="connsiteY5" fmla="*/ 446983 h 1077900"/>
                <a:gd name="connsiteX6" fmla="*/ 812232 w 871847"/>
                <a:gd name="connsiteY6" fmla="*/ 544042 h 1077900"/>
                <a:gd name="connsiteX7" fmla="*/ 702402 w 871847"/>
                <a:gd name="connsiteY7" fmla="*/ 495513 h 1077900"/>
                <a:gd name="connsiteX8" fmla="*/ 666643 w 871847"/>
                <a:gd name="connsiteY8" fmla="*/ 291178 h 1077900"/>
                <a:gd name="connsiteX9" fmla="*/ 628330 w 871847"/>
                <a:gd name="connsiteY9" fmla="*/ 257973 h 1077900"/>
                <a:gd name="connsiteX10" fmla="*/ 633439 w 871847"/>
                <a:gd name="connsiteY10" fmla="*/ 975701 h 1077900"/>
                <a:gd name="connsiteX11" fmla="*/ 551705 w 871847"/>
                <a:gd name="connsiteY11" fmla="*/ 1077868 h 1077900"/>
                <a:gd name="connsiteX12" fmla="*/ 439320 w 871847"/>
                <a:gd name="connsiteY12" fmla="*/ 985917 h 1077900"/>
                <a:gd name="connsiteX13" fmla="*/ 435963 w 871847"/>
                <a:gd name="connsiteY13" fmla="*/ 595563 h 1077900"/>
                <a:gd name="connsiteX14" fmla="*/ 336715 w 871847"/>
                <a:gd name="connsiteY14" fmla="*/ 595493 h 1077900"/>
                <a:gd name="connsiteX15" fmla="*/ 334598 w 871847"/>
                <a:gd name="connsiteY15" fmla="*/ 984167 h 1077900"/>
                <a:gd name="connsiteX16" fmla="*/ 238047 w 871847"/>
                <a:gd name="connsiteY16" fmla="*/ 1077868 h 1077900"/>
                <a:gd name="connsiteX17" fmla="*/ 137926 w 871847"/>
                <a:gd name="connsiteY17" fmla="*/ 983363 h 1077900"/>
                <a:gd name="connsiteX18" fmla="*/ 143034 w 871847"/>
                <a:gd name="connsiteY18" fmla="*/ 204335 h 1077900"/>
                <a:gd name="connsiteX19" fmla="*/ 0 w 871847"/>
                <a:gd name="connsiteY19" fmla="*/ 234985 h 1077900"/>
                <a:gd name="connsiteX20" fmla="*/ 0 w 871847"/>
                <a:gd name="connsiteY20" fmla="*/ 74072 h 1077900"/>
                <a:gd name="connsiteX21" fmla="*/ 240093 w 871847"/>
                <a:gd name="connsiteY21" fmla="*/ 0 h 10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71847" h="1077900">
                  <a:moveTo>
                    <a:pt x="240093" y="0"/>
                  </a:moveTo>
                  <a:lnTo>
                    <a:pt x="390791" y="211998"/>
                  </a:lnTo>
                  <a:lnTo>
                    <a:pt x="528717" y="2554"/>
                  </a:lnTo>
                  <a:cubicBezTo>
                    <a:pt x="559758" y="5960"/>
                    <a:pt x="560754" y="1231"/>
                    <a:pt x="602788" y="12771"/>
                  </a:cubicBezTo>
                  <a:cubicBezTo>
                    <a:pt x="636355" y="28544"/>
                    <a:pt x="791821" y="168269"/>
                    <a:pt x="806319" y="198790"/>
                  </a:cubicBezTo>
                  <a:cubicBezTo>
                    <a:pt x="830580" y="249863"/>
                    <a:pt x="852247" y="363546"/>
                    <a:pt x="870978" y="446983"/>
                  </a:cubicBezTo>
                  <a:cubicBezTo>
                    <a:pt x="876796" y="487803"/>
                    <a:pt x="852980" y="530739"/>
                    <a:pt x="812232" y="544042"/>
                  </a:cubicBezTo>
                  <a:cubicBezTo>
                    <a:pt x="771484" y="557345"/>
                    <a:pt x="715728" y="530739"/>
                    <a:pt x="702402" y="495513"/>
                  </a:cubicBezTo>
                  <a:lnTo>
                    <a:pt x="666643" y="291178"/>
                  </a:lnTo>
                  <a:lnTo>
                    <a:pt x="628330" y="257973"/>
                  </a:lnTo>
                  <a:lnTo>
                    <a:pt x="633439" y="975701"/>
                  </a:lnTo>
                  <a:cubicBezTo>
                    <a:pt x="627361" y="1026691"/>
                    <a:pt x="593767" y="1077679"/>
                    <a:pt x="551705" y="1077868"/>
                  </a:cubicBezTo>
                  <a:cubicBezTo>
                    <a:pt x="509643" y="1078057"/>
                    <a:pt x="440799" y="1025034"/>
                    <a:pt x="439320" y="985917"/>
                  </a:cubicBezTo>
                  <a:lnTo>
                    <a:pt x="435963" y="595563"/>
                  </a:lnTo>
                  <a:lnTo>
                    <a:pt x="336715" y="595493"/>
                  </a:lnTo>
                  <a:cubicBezTo>
                    <a:pt x="336009" y="725051"/>
                    <a:pt x="335304" y="854609"/>
                    <a:pt x="334598" y="984167"/>
                  </a:cubicBezTo>
                  <a:cubicBezTo>
                    <a:pt x="332753" y="1030217"/>
                    <a:pt x="297042" y="1076267"/>
                    <a:pt x="238047" y="1077868"/>
                  </a:cubicBezTo>
                  <a:cubicBezTo>
                    <a:pt x="179052" y="1079469"/>
                    <a:pt x="138140" y="1021216"/>
                    <a:pt x="137926" y="983363"/>
                  </a:cubicBezTo>
                  <a:cubicBezTo>
                    <a:pt x="139629" y="723687"/>
                    <a:pt x="141331" y="464011"/>
                    <a:pt x="143034" y="204335"/>
                  </a:cubicBezTo>
                  <a:lnTo>
                    <a:pt x="0" y="234985"/>
                  </a:lnTo>
                  <a:lnTo>
                    <a:pt x="0" y="74072"/>
                  </a:lnTo>
                  <a:cubicBezTo>
                    <a:pt x="80031" y="49381"/>
                    <a:pt x="145245" y="18341"/>
                    <a:pt x="24009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1000" err="1">
                <a:solidFill>
                  <a:schemeClr val="bg1"/>
                </a:solidFill>
              </a:endParaRPr>
            </a:p>
          </p:txBody>
        </p:sp>
        <p:sp>
          <p:nvSpPr>
            <p:cNvPr id="66" name="Freihandform 65"/>
            <p:cNvSpPr/>
            <p:nvPr/>
          </p:nvSpPr>
          <p:spPr>
            <a:xfrm>
              <a:off x="2574836" y="713299"/>
              <a:ext cx="718701" cy="1073168"/>
            </a:xfrm>
            <a:custGeom>
              <a:avLst/>
              <a:gdLst>
                <a:gd name="connsiteX0" fmla="*/ 717550 w 717550"/>
                <a:gd name="connsiteY0" fmla="*/ 234950 h 1068916"/>
                <a:gd name="connsiteX1" fmla="*/ 717550 w 717550"/>
                <a:gd name="connsiteY1" fmla="*/ 984250 h 1068916"/>
                <a:gd name="connsiteX2" fmla="*/ 632884 w 717550"/>
                <a:gd name="connsiteY2" fmla="*/ 1068916 h 1068916"/>
                <a:gd name="connsiteX3" fmla="*/ 548218 w 717550"/>
                <a:gd name="connsiteY3" fmla="*/ 984250 h 1068916"/>
                <a:gd name="connsiteX4" fmla="*/ 527050 w 717550"/>
                <a:gd name="connsiteY4" fmla="*/ 977900 h 1068916"/>
                <a:gd name="connsiteX5" fmla="*/ 527050 w 717550"/>
                <a:gd name="connsiteY5" fmla="*/ 590550 h 1068916"/>
                <a:gd name="connsiteX6" fmla="*/ 419100 w 717550"/>
                <a:gd name="connsiteY6" fmla="*/ 590550 h 1068916"/>
                <a:gd name="connsiteX7" fmla="*/ 419100 w 717550"/>
                <a:gd name="connsiteY7" fmla="*/ 973666 h 1068916"/>
                <a:gd name="connsiteX8" fmla="*/ 332317 w 717550"/>
                <a:gd name="connsiteY8" fmla="*/ 1060449 h 1068916"/>
                <a:gd name="connsiteX9" fmla="*/ 237068 w 717550"/>
                <a:gd name="connsiteY9" fmla="*/ 965200 h 1068916"/>
                <a:gd name="connsiteX10" fmla="*/ 234950 w 717550"/>
                <a:gd name="connsiteY10" fmla="*/ 258233 h 1068916"/>
                <a:gd name="connsiteX11" fmla="*/ 203200 w 717550"/>
                <a:gd name="connsiteY11" fmla="*/ 279400 h 1068916"/>
                <a:gd name="connsiteX12" fmla="*/ 158750 w 717550"/>
                <a:gd name="connsiteY12" fmla="*/ 488950 h 1068916"/>
                <a:gd name="connsiteX13" fmla="*/ 61384 w 717550"/>
                <a:gd name="connsiteY13" fmla="*/ 539750 h 1068916"/>
                <a:gd name="connsiteX14" fmla="*/ 0 w 717550"/>
                <a:gd name="connsiteY14" fmla="*/ 438150 h 1068916"/>
                <a:gd name="connsiteX15" fmla="*/ 57150 w 717550"/>
                <a:gd name="connsiteY15" fmla="*/ 192616 h 1068916"/>
                <a:gd name="connsiteX16" fmla="*/ 131234 w 717550"/>
                <a:gd name="connsiteY16" fmla="*/ 129116 h 1068916"/>
                <a:gd name="connsiteX17" fmla="*/ 165100 w 717550"/>
                <a:gd name="connsiteY17" fmla="*/ 158750 h 1068916"/>
                <a:gd name="connsiteX18" fmla="*/ 218017 w 717550"/>
                <a:gd name="connsiteY18" fmla="*/ 169333 h 1068916"/>
                <a:gd name="connsiteX19" fmla="*/ 285750 w 717550"/>
                <a:gd name="connsiteY19" fmla="*/ 129116 h 1068916"/>
                <a:gd name="connsiteX20" fmla="*/ 325967 w 717550"/>
                <a:gd name="connsiteY20" fmla="*/ 93133 h 1068916"/>
                <a:gd name="connsiteX21" fmla="*/ 340784 w 717550"/>
                <a:gd name="connsiteY21" fmla="*/ 40216 h 1068916"/>
                <a:gd name="connsiteX22" fmla="*/ 330200 w 717550"/>
                <a:gd name="connsiteY22" fmla="*/ 0 h 1068916"/>
                <a:gd name="connsiteX23" fmla="*/ 658284 w 717550"/>
                <a:gd name="connsiteY23" fmla="*/ 0 h 1068916"/>
                <a:gd name="connsiteX24" fmla="*/ 709084 w 717550"/>
                <a:gd name="connsiteY24" fmla="*/ 29633 h 1068916"/>
                <a:gd name="connsiteX25" fmla="*/ 717550 w 717550"/>
                <a:gd name="connsiteY25" fmla="*/ 234950 h 1068916"/>
                <a:gd name="connsiteX0" fmla="*/ 717550 w 717550"/>
                <a:gd name="connsiteY0" fmla="*/ 234950 h 1071033"/>
                <a:gd name="connsiteX1" fmla="*/ 717550 w 717550"/>
                <a:gd name="connsiteY1" fmla="*/ 984250 h 1071033"/>
                <a:gd name="connsiteX2" fmla="*/ 632884 w 717550"/>
                <a:gd name="connsiteY2" fmla="*/ 1068916 h 1071033"/>
                <a:gd name="connsiteX3" fmla="*/ 548218 w 717550"/>
                <a:gd name="connsiteY3" fmla="*/ 984250 h 1071033"/>
                <a:gd name="connsiteX4" fmla="*/ 527050 w 717550"/>
                <a:gd name="connsiteY4" fmla="*/ 977900 h 1071033"/>
                <a:gd name="connsiteX5" fmla="*/ 527050 w 717550"/>
                <a:gd name="connsiteY5" fmla="*/ 590550 h 1071033"/>
                <a:gd name="connsiteX6" fmla="*/ 419100 w 717550"/>
                <a:gd name="connsiteY6" fmla="*/ 590550 h 1071033"/>
                <a:gd name="connsiteX7" fmla="*/ 419100 w 717550"/>
                <a:gd name="connsiteY7" fmla="*/ 973666 h 1071033"/>
                <a:gd name="connsiteX8" fmla="*/ 328084 w 717550"/>
                <a:gd name="connsiteY8" fmla="*/ 1071033 h 1071033"/>
                <a:gd name="connsiteX9" fmla="*/ 237068 w 717550"/>
                <a:gd name="connsiteY9" fmla="*/ 965200 h 1071033"/>
                <a:gd name="connsiteX10" fmla="*/ 234950 w 717550"/>
                <a:gd name="connsiteY10" fmla="*/ 258233 h 1071033"/>
                <a:gd name="connsiteX11" fmla="*/ 203200 w 717550"/>
                <a:gd name="connsiteY11" fmla="*/ 279400 h 1071033"/>
                <a:gd name="connsiteX12" fmla="*/ 158750 w 717550"/>
                <a:gd name="connsiteY12" fmla="*/ 488950 h 1071033"/>
                <a:gd name="connsiteX13" fmla="*/ 61384 w 717550"/>
                <a:gd name="connsiteY13" fmla="*/ 539750 h 1071033"/>
                <a:gd name="connsiteX14" fmla="*/ 0 w 717550"/>
                <a:gd name="connsiteY14" fmla="*/ 438150 h 1071033"/>
                <a:gd name="connsiteX15" fmla="*/ 57150 w 717550"/>
                <a:gd name="connsiteY15" fmla="*/ 192616 h 1071033"/>
                <a:gd name="connsiteX16" fmla="*/ 131234 w 717550"/>
                <a:gd name="connsiteY16" fmla="*/ 129116 h 1071033"/>
                <a:gd name="connsiteX17" fmla="*/ 165100 w 717550"/>
                <a:gd name="connsiteY17" fmla="*/ 158750 h 1071033"/>
                <a:gd name="connsiteX18" fmla="*/ 218017 w 717550"/>
                <a:gd name="connsiteY18" fmla="*/ 169333 h 1071033"/>
                <a:gd name="connsiteX19" fmla="*/ 285750 w 717550"/>
                <a:gd name="connsiteY19" fmla="*/ 129116 h 1071033"/>
                <a:gd name="connsiteX20" fmla="*/ 325967 w 717550"/>
                <a:gd name="connsiteY20" fmla="*/ 93133 h 1071033"/>
                <a:gd name="connsiteX21" fmla="*/ 340784 w 717550"/>
                <a:gd name="connsiteY21" fmla="*/ 40216 h 1071033"/>
                <a:gd name="connsiteX22" fmla="*/ 330200 w 717550"/>
                <a:gd name="connsiteY22" fmla="*/ 0 h 1071033"/>
                <a:gd name="connsiteX23" fmla="*/ 658284 w 717550"/>
                <a:gd name="connsiteY23" fmla="*/ 0 h 1071033"/>
                <a:gd name="connsiteX24" fmla="*/ 709084 w 717550"/>
                <a:gd name="connsiteY24" fmla="*/ 29633 h 1071033"/>
                <a:gd name="connsiteX25" fmla="*/ 717550 w 717550"/>
                <a:gd name="connsiteY25" fmla="*/ 234950 h 1071033"/>
                <a:gd name="connsiteX0" fmla="*/ 717550 w 717550"/>
                <a:gd name="connsiteY0" fmla="*/ 234950 h 1071055"/>
                <a:gd name="connsiteX1" fmla="*/ 717550 w 717550"/>
                <a:gd name="connsiteY1" fmla="*/ 984250 h 1071055"/>
                <a:gd name="connsiteX2" fmla="*/ 632884 w 717550"/>
                <a:gd name="connsiteY2" fmla="*/ 1068916 h 1071055"/>
                <a:gd name="connsiteX3" fmla="*/ 548218 w 717550"/>
                <a:gd name="connsiteY3" fmla="*/ 984250 h 1071055"/>
                <a:gd name="connsiteX4" fmla="*/ 527050 w 717550"/>
                <a:gd name="connsiteY4" fmla="*/ 977900 h 1071055"/>
                <a:gd name="connsiteX5" fmla="*/ 527050 w 717550"/>
                <a:gd name="connsiteY5" fmla="*/ 590550 h 1071055"/>
                <a:gd name="connsiteX6" fmla="*/ 419100 w 717550"/>
                <a:gd name="connsiteY6" fmla="*/ 590550 h 1071055"/>
                <a:gd name="connsiteX7" fmla="*/ 419100 w 717550"/>
                <a:gd name="connsiteY7" fmla="*/ 973666 h 1071055"/>
                <a:gd name="connsiteX8" fmla="*/ 328084 w 717550"/>
                <a:gd name="connsiteY8" fmla="*/ 1071033 h 1071055"/>
                <a:gd name="connsiteX9" fmla="*/ 237068 w 717550"/>
                <a:gd name="connsiteY9" fmla="*/ 965200 h 1071055"/>
                <a:gd name="connsiteX10" fmla="*/ 234950 w 717550"/>
                <a:gd name="connsiteY10" fmla="*/ 258233 h 1071055"/>
                <a:gd name="connsiteX11" fmla="*/ 203200 w 717550"/>
                <a:gd name="connsiteY11" fmla="*/ 279400 h 1071055"/>
                <a:gd name="connsiteX12" fmla="*/ 158750 w 717550"/>
                <a:gd name="connsiteY12" fmla="*/ 488950 h 1071055"/>
                <a:gd name="connsiteX13" fmla="*/ 61384 w 717550"/>
                <a:gd name="connsiteY13" fmla="*/ 539750 h 1071055"/>
                <a:gd name="connsiteX14" fmla="*/ 0 w 717550"/>
                <a:gd name="connsiteY14" fmla="*/ 438150 h 1071055"/>
                <a:gd name="connsiteX15" fmla="*/ 57150 w 717550"/>
                <a:gd name="connsiteY15" fmla="*/ 192616 h 1071055"/>
                <a:gd name="connsiteX16" fmla="*/ 131234 w 717550"/>
                <a:gd name="connsiteY16" fmla="*/ 129116 h 1071055"/>
                <a:gd name="connsiteX17" fmla="*/ 165100 w 717550"/>
                <a:gd name="connsiteY17" fmla="*/ 158750 h 1071055"/>
                <a:gd name="connsiteX18" fmla="*/ 218017 w 717550"/>
                <a:gd name="connsiteY18" fmla="*/ 169333 h 1071055"/>
                <a:gd name="connsiteX19" fmla="*/ 285750 w 717550"/>
                <a:gd name="connsiteY19" fmla="*/ 129116 h 1071055"/>
                <a:gd name="connsiteX20" fmla="*/ 325967 w 717550"/>
                <a:gd name="connsiteY20" fmla="*/ 93133 h 1071055"/>
                <a:gd name="connsiteX21" fmla="*/ 340784 w 717550"/>
                <a:gd name="connsiteY21" fmla="*/ 40216 h 1071055"/>
                <a:gd name="connsiteX22" fmla="*/ 330200 w 717550"/>
                <a:gd name="connsiteY22" fmla="*/ 0 h 1071055"/>
                <a:gd name="connsiteX23" fmla="*/ 658284 w 717550"/>
                <a:gd name="connsiteY23" fmla="*/ 0 h 1071055"/>
                <a:gd name="connsiteX24" fmla="*/ 709084 w 717550"/>
                <a:gd name="connsiteY24" fmla="*/ 29633 h 1071055"/>
                <a:gd name="connsiteX25" fmla="*/ 717550 w 717550"/>
                <a:gd name="connsiteY25" fmla="*/ 234950 h 1071055"/>
                <a:gd name="connsiteX0" fmla="*/ 717550 w 717550"/>
                <a:gd name="connsiteY0" fmla="*/ 234950 h 1073149"/>
                <a:gd name="connsiteX1" fmla="*/ 717550 w 717550"/>
                <a:gd name="connsiteY1" fmla="*/ 984250 h 1073149"/>
                <a:gd name="connsiteX2" fmla="*/ 618068 w 717550"/>
                <a:gd name="connsiteY2" fmla="*/ 1073149 h 1073149"/>
                <a:gd name="connsiteX3" fmla="*/ 548218 w 717550"/>
                <a:gd name="connsiteY3" fmla="*/ 984250 h 1073149"/>
                <a:gd name="connsiteX4" fmla="*/ 527050 w 717550"/>
                <a:gd name="connsiteY4" fmla="*/ 977900 h 1073149"/>
                <a:gd name="connsiteX5" fmla="*/ 527050 w 717550"/>
                <a:gd name="connsiteY5" fmla="*/ 590550 h 1073149"/>
                <a:gd name="connsiteX6" fmla="*/ 419100 w 717550"/>
                <a:gd name="connsiteY6" fmla="*/ 590550 h 1073149"/>
                <a:gd name="connsiteX7" fmla="*/ 419100 w 717550"/>
                <a:gd name="connsiteY7" fmla="*/ 973666 h 1073149"/>
                <a:gd name="connsiteX8" fmla="*/ 328084 w 717550"/>
                <a:gd name="connsiteY8" fmla="*/ 1071033 h 1073149"/>
                <a:gd name="connsiteX9" fmla="*/ 237068 w 717550"/>
                <a:gd name="connsiteY9" fmla="*/ 965200 h 1073149"/>
                <a:gd name="connsiteX10" fmla="*/ 234950 w 717550"/>
                <a:gd name="connsiteY10" fmla="*/ 258233 h 1073149"/>
                <a:gd name="connsiteX11" fmla="*/ 203200 w 717550"/>
                <a:gd name="connsiteY11" fmla="*/ 279400 h 1073149"/>
                <a:gd name="connsiteX12" fmla="*/ 158750 w 717550"/>
                <a:gd name="connsiteY12" fmla="*/ 488950 h 1073149"/>
                <a:gd name="connsiteX13" fmla="*/ 61384 w 717550"/>
                <a:gd name="connsiteY13" fmla="*/ 539750 h 1073149"/>
                <a:gd name="connsiteX14" fmla="*/ 0 w 717550"/>
                <a:gd name="connsiteY14" fmla="*/ 438150 h 1073149"/>
                <a:gd name="connsiteX15" fmla="*/ 57150 w 717550"/>
                <a:gd name="connsiteY15" fmla="*/ 192616 h 1073149"/>
                <a:gd name="connsiteX16" fmla="*/ 131234 w 717550"/>
                <a:gd name="connsiteY16" fmla="*/ 129116 h 1073149"/>
                <a:gd name="connsiteX17" fmla="*/ 165100 w 717550"/>
                <a:gd name="connsiteY17" fmla="*/ 158750 h 1073149"/>
                <a:gd name="connsiteX18" fmla="*/ 218017 w 717550"/>
                <a:gd name="connsiteY18" fmla="*/ 169333 h 1073149"/>
                <a:gd name="connsiteX19" fmla="*/ 285750 w 717550"/>
                <a:gd name="connsiteY19" fmla="*/ 129116 h 1073149"/>
                <a:gd name="connsiteX20" fmla="*/ 325967 w 717550"/>
                <a:gd name="connsiteY20" fmla="*/ 93133 h 1073149"/>
                <a:gd name="connsiteX21" fmla="*/ 340784 w 717550"/>
                <a:gd name="connsiteY21" fmla="*/ 40216 h 1073149"/>
                <a:gd name="connsiteX22" fmla="*/ 330200 w 717550"/>
                <a:gd name="connsiteY22" fmla="*/ 0 h 1073149"/>
                <a:gd name="connsiteX23" fmla="*/ 658284 w 717550"/>
                <a:gd name="connsiteY23" fmla="*/ 0 h 1073149"/>
                <a:gd name="connsiteX24" fmla="*/ 709084 w 717550"/>
                <a:gd name="connsiteY24" fmla="*/ 29633 h 1073149"/>
                <a:gd name="connsiteX25" fmla="*/ 717550 w 717550"/>
                <a:gd name="connsiteY25" fmla="*/ 234950 h 1073149"/>
                <a:gd name="connsiteX0" fmla="*/ 717550 w 717550"/>
                <a:gd name="connsiteY0" fmla="*/ 234950 h 1073350"/>
                <a:gd name="connsiteX1" fmla="*/ 717550 w 717550"/>
                <a:gd name="connsiteY1" fmla="*/ 984250 h 1073350"/>
                <a:gd name="connsiteX2" fmla="*/ 618068 w 717550"/>
                <a:gd name="connsiteY2" fmla="*/ 1073149 h 1073350"/>
                <a:gd name="connsiteX3" fmla="*/ 548218 w 717550"/>
                <a:gd name="connsiteY3" fmla="*/ 984250 h 1073350"/>
                <a:gd name="connsiteX4" fmla="*/ 527050 w 717550"/>
                <a:gd name="connsiteY4" fmla="*/ 977900 h 1073350"/>
                <a:gd name="connsiteX5" fmla="*/ 527050 w 717550"/>
                <a:gd name="connsiteY5" fmla="*/ 590550 h 1073350"/>
                <a:gd name="connsiteX6" fmla="*/ 419100 w 717550"/>
                <a:gd name="connsiteY6" fmla="*/ 590550 h 1073350"/>
                <a:gd name="connsiteX7" fmla="*/ 419100 w 717550"/>
                <a:gd name="connsiteY7" fmla="*/ 973666 h 1073350"/>
                <a:gd name="connsiteX8" fmla="*/ 328084 w 717550"/>
                <a:gd name="connsiteY8" fmla="*/ 1071033 h 1073350"/>
                <a:gd name="connsiteX9" fmla="*/ 237068 w 717550"/>
                <a:gd name="connsiteY9" fmla="*/ 965200 h 1073350"/>
                <a:gd name="connsiteX10" fmla="*/ 234950 w 717550"/>
                <a:gd name="connsiteY10" fmla="*/ 258233 h 1073350"/>
                <a:gd name="connsiteX11" fmla="*/ 203200 w 717550"/>
                <a:gd name="connsiteY11" fmla="*/ 279400 h 1073350"/>
                <a:gd name="connsiteX12" fmla="*/ 158750 w 717550"/>
                <a:gd name="connsiteY12" fmla="*/ 488950 h 1073350"/>
                <a:gd name="connsiteX13" fmla="*/ 61384 w 717550"/>
                <a:gd name="connsiteY13" fmla="*/ 539750 h 1073350"/>
                <a:gd name="connsiteX14" fmla="*/ 0 w 717550"/>
                <a:gd name="connsiteY14" fmla="*/ 438150 h 1073350"/>
                <a:gd name="connsiteX15" fmla="*/ 57150 w 717550"/>
                <a:gd name="connsiteY15" fmla="*/ 192616 h 1073350"/>
                <a:gd name="connsiteX16" fmla="*/ 131234 w 717550"/>
                <a:gd name="connsiteY16" fmla="*/ 129116 h 1073350"/>
                <a:gd name="connsiteX17" fmla="*/ 165100 w 717550"/>
                <a:gd name="connsiteY17" fmla="*/ 158750 h 1073350"/>
                <a:gd name="connsiteX18" fmla="*/ 218017 w 717550"/>
                <a:gd name="connsiteY18" fmla="*/ 169333 h 1073350"/>
                <a:gd name="connsiteX19" fmla="*/ 285750 w 717550"/>
                <a:gd name="connsiteY19" fmla="*/ 129116 h 1073350"/>
                <a:gd name="connsiteX20" fmla="*/ 325967 w 717550"/>
                <a:gd name="connsiteY20" fmla="*/ 93133 h 1073350"/>
                <a:gd name="connsiteX21" fmla="*/ 340784 w 717550"/>
                <a:gd name="connsiteY21" fmla="*/ 40216 h 1073350"/>
                <a:gd name="connsiteX22" fmla="*/ 330200 w 717550"/>
                <a:gd name="connsiteY22" fmla="*/ 0 h 1073350"/>
                <a:gd name="connsiteX23" fmla="*/ 658284 w 717550"/>
                <a:gd name="connsiteY23" fmla="*/ 0 h 1073350"/>
                <a:gd name="connsiteX24" fmla="*/ 709084 w 717550"/>
                <a:gd name="connsiteY24" fmla="*/ 29633 h 1073350"/>
                <a:gd name="connsiteX25" fmla="*/ 717550 w 717550"/>
                <a:gd name="connsiteY25" fmla="*/ 234950 h 1073350"/>
                <a:gd name="connsiteX0" fmla="*/ 717550 w 717550"/>
                <a:gd name="connsiteY0" fmla="*/ 234950 h 1073202"/>
                <a:gd name="connsiteX1" fmla="*/ 717550 w 717550"/>
                <a:gd name="connsiteY1" fmla="*/ 984250 h 1073202"/>
                <a:gd name="connsiteX2" fmla="*/ 618068 w 717550"/>
                <a:gd name="connsiteY2" fmla="*/ 1073149 h 1073202"/>
                <a:gd name="connsiteX3" fmla="*/ 548218 w 717550"/>
                <a:gd name="connsiteY3" fmla="*/ 984250 h 1073202"/>
                <a:gd name="connsiteX4" fmla="*/ 527050 w 717550"/>
                <a:gd name="connsiteY4" fmla="*/ 977900 h 1073202"/>
                <a:gd name="connsiteX5" fmla="*/ 527050 w 717550"/>
                <a:gd name="connsiteY5" fmla="*/ 590550 h 1073202"/>
                <a:gd name="connsiteX6" fmla="*/ 419100 w 717550"/>
                <a:gd name="connsiteY6" fmla="*/ 590550 h 1073202"/>
                <a:gd name="connsiteX7" fmla="*/ 419100 w 717550"/>
                <a:gd name="connsiteY7" fmla="*/ 973666 h 1073202"/>
                <a:gd name="connsiteX8" fmla="*/ 328084 w 717550"/>
                <a:gd name="connsiteY8" fmla="*/ 1071033 h 1073202"/>
                <a:gd name="connsiteX9" fmla="*/ 237068 w 717550"/>
                <a:gd name="connsiteY9" fmla="*/ 965200 h 1073202"/>
                <a:gd name="connsiteX10" fmla="*/ 234950 w 717550"/>
                <a:gd name="connsiteY10" fmla="*/ 258233 h 1073202"/>
                <a:gd name="connsiteX11" fmla="*/ 203200 w 717550"/>
                <a:gd name="connsiteY11" fmla="*/ 279400 h 1073202"/>
                <a:gd name="connsiteX12" fmla="*/ 158750 w 717550"/>
                <a:gd name="connsiteY12" fmla="*/ 488950 h 1073202"/>
                <a:gd name="connsiteX13" fmla="*/ 61384 w 717550"/>
                <a:gd name="connsiteY13" fmla="*/ 539750 h 1073202"/>
                <a:gd name="connsiteX14" fmla="*/ 0 w 717550"/>
                <a:gd name="connsiteY14" fmla="*/ 438150 h 1073202"/>
                <a:gd name="connsiteX15" fmla="*/ 57150 w 717550"/>
                <a:gd name="connsiteY15" fmla="*/ 192616 h 1073202"/>
                <a:gd name="connsiteX16" fmla="*/ 131234 w 717550"/>
                <a:gd name="connsiteY16" fmla="*/ 129116 h 1073202"/>
                <a:gd name="connsiteX17" fmla="*/ 165100 w 717550"/>
                <a:gd name="connsiteY17" fmla="*/ 158750 h 1073202"/>
                <a:gd name="connsiteX18" fmla="*/ 218017 w 717550"/>
                <a:gd name="connsiteY18" fmla="*/ 169333 h 1073202"/>
                <a:gd name="connsiteX19" fmla="*/ 285750 w 717550"/>
                <a:gd name="connsiteY19" fmla="*/ 129116 h 1073202"/>
                <a:gd name="connsiteX20" fmla="*/ 325967 w 717550"/>
                <a:gd name="connsiteY20" fmla="*/ 93133 h 1073202"/>
                <a:gd name="connsiteX21" fmla="*/ 340784 w 717550"/>
                <a:gd name="connsiteY21" fmla="*/ 40216 h 1073202"/>
                <a:gd name="connsiteX22" fmla="*/ 330200 w 717550"/>
                <a:gd name="connsiteY22" fmla="*/ 0 h 1073202"/>
                <a:gd name="connsiteX23" fmla="*/ 658284 w 717550"/>
                <a:gd name="connsiteY23" fmla="*/ 0 h 1073202"/>
                <a:gd name="connsiteX24" fmla="*/ 709084 w 717550"/>
                <a:gd name="connsiteY24" fmla="*/ 29633 h 1073202"/>
                <a:gd name="connsiteX25" fmla="*/ 717550 w 717550"/>
                <a:gd name="connsiteY25" fmla="*/ 234950 h 1073202"/>
                <a:gd name="connsiteX0" fmla="*/ 717550 w 717550"/>
                <a:gd name="connsiteY0" fmla="*/ 234950 h 1073623"/>
                <a:gd name="connsiteX1" fmla="*/ 717550 w 717550"/>
                <a:gd name="connsiteY1" fmla="*/ 984250 h 1073623"/>
                <a:gd name="connsiteX2" fmla="*/ 618068 w 717550"/>
                <a:gd name="connsiteY2" fmla="*/ 1073149 h 1073623"/>
                <a:gd name="connsiteX3" fmla="*/ 535518 w 717550"/>
                <a:gd name="connsiteY3" fmla="*/ 1013883 h 1073623"/>
                <a:gd name="connsiteX4" fmla="*/ 527050 w 717550"/>
                <a:gd name="connsiteY4" fmla="*/ 977900 h 1073623"/>
                <a:gd name="connsiteX5" fmla="*/ 527050 w 717550"/>
                <a:gd name="connsiteY5" fmla="*/ 590550 h 1073623"/>
                <a:gd name="connsiteX6" fmla="*/ 419100 w 717550"/>
                <a:gd name="connsiteY6" fmla="*/ 590550 h 1073623"/>
                <a:gd name="connsiteX7" fmla="*/ 419100 w 717550"/>
                <a:gd name="connsiteY7" fmla="*/ 973666 h 1073623"/>
                <a:gd name="connsiteX8" fmla="*/ 328084 w 717550"/>
                <a:gd name="connsiteY8" fmla="*/ 1071033 h 1073623"/>
                <a:gd name="connsiteX9" fmla="*/ 237068 w 717550"/>
                <a:gd name="connsiteY9" fmla="*/ 965200 h 1073623"/>
                <a:gd name="connsiteX10" fmla="*/ 234950 w 717550"/>
                <a:gd name="connsiteY10" fmla="*/ 258233 h 1073623"/>
                <a:gd name="connsiteX11" fmla="*/ 203200 w 717550"/>
                <a:gd name="connsiteY11" fmla="*/ 279400 h 1073623"/>
                <a:gd name="connsiteX12" fmla="*/ 158750 w 717550"/>
                <a:gd name="connsiteY12" fmla="*/ 488950 h 1073623"/>
                <a:gd name="connsiteX13" fmla="*/ 61384 w 717550"/>
                <a:gd name="connsiteY13" fmla="*/ 539750 h 1073623"/>
                <a:gd name="connsiteX14" fmla="*/ 0 w 717550"/>
                <a:gd name="connsiteY14" fmla="*/ 438150 h 1073623"/>
                <a:gd name="connsiteX15" fmla="*/ 57150 w 717550"/>
                <a:gd name="connsiteY15" fmla="*/ 192616 h 1073623"/>
                <a:gd name="connsiteX16" fmla="*/ 131234 w 717550"/>
                <a:gd name="connsiteY16" fmla="*/ 129116 h 1073623"/>
                <a:gd name="connsiteX17" fmla="*/ 165100 w 717550"/>
                <a:gd name="connsiteY17" fmla="*/ 158750 h 1073623"/>
                <a:gd name="connsiteX18" fmla="*/ 218017 w 717550"/>
                <a:gd name="connsiteY18" fmla="*/ 169333 h 1073623"/>
                <a:gd name="connsiteX19" fmla="*/ 285750 w 717550"/>
                <a:gd name="connsiteY19" fmla="*/ 129116 h 1073623"/>
                <a:gd name="connsiteX20" fmla="*/ 325967 w 717550"/>
                <a:gd name="connsiteY20" fmla="*/ 93133 h 1073623"/>
                <a:gd name="connsiteX21" fmla="*/ 340784 w 717550"/>
                <a:gd name="connsiteY21" fmla="*/ 40216 h 1073623"/>
                <a:gd name="connsiteX22" fmla="*/ 330200 w 717550"/>
                <a:gd name="connsiteY22" fmla="*/ 0 h 1073623"/>
                <a:gd name="connsiteX23" fmla="*/ 658284 w 717550"/>
                <a:gd name="connsiteY23" fmla="*/ 0 h 1073623"/>
                <a:gd name="connsiteX24" fmla="*/ 709084 w 717550"/>
                <a:gd name="connsiteY24" fmla="*/ 29633 h 1073623"/>
                <a:gd name="connsiteX25" fmla="*/ 717550 w 717550"/>
                <a:gd name="connsiteY25" fmla="*/ 234950 h 1073623"/>
                <a:gd name="connsiteX0" fmla="*/ 717550 w 717555"/>
                <a:gd name="connsiteY0" fmla="*/ 234950 h 1073623"/>
                <a:gd name="connsiteX1" fmla="*/ 717550 w 717555"/>
                <a:gd name="connsiteY1" fmla="*/ 984250 h 1073623"/>
                <a:gd name="connsiteX2" fmla="*/ 618068 w 717555"/>
                <a:gd name="connsiteY2" fmla="*/ 1073149 h 1073623"/>
                <a:gd name="connsiteX3" fmla="*/ 535518 w 717555"/>
                <a:gd name="connsiteY3" fmla="*/ 1013883 h 1073623"/>
                <a:gd name="connsiteX4" fmla="*/ 527050 w 717555"/>
                <a:gd name="connsiteY4" fmla="*/ 977900 h 1073623"/>
                <a:gd name="connsiteX5" fmla="*/ 527050 w 717555"/>
                <a:gd name="connsiteY5" fmla="*/ 590550 h 1073623"/>
                <a:gd name="connsiteX6" fmla="*/ 419100 w 717555"/>
                <a:gd name="connsiteY6" fmla="*/ 590550 h 1073623"/>
                <a:gd name="connsiteX7" fmla="*/ 419100 w 717555"/>
                <a:gd name="connsiteY7" fmla="*/ 973666 h 1073623"/>
                <a:gd name="connsiteX8" fmla="*/ 328084 w 717555"/>
                <a:gd name="connsiteY8" fmla="*/ 1071033 h 1073623"/>
                <a:gd name="connsiteX9" fmla="*/ 237068 w 717555"/>
                <a:gd name="connsiteY9" fmla="*/ 965200 h 1073623"/>
                <a:gd name="connsiteX10" fmla="*/ 234950 w 717555"/>
                <a:gd name="connsiteY10" fmla="*/ 258233 h 1073623"/>
                <a:gd name="connsiteX11" fmla="*/ 203200 w 717555"/>
                <a:gd name="connsiteY11" fmla="*/ 279400 h 1073623"/>
                <a:gd name="connsiteX12" fmla="*/ 158750 w 717555"/>
                <a:gd name="connsiteY12" fmla="*/ 488950 h 1073623"/>
                <a:gd name="connsiteX13" fmla="*/ 61384 w 717555"/>
                <a:gd name="connsiteY13" fmla="*/ 539750 h 1073623"/>
                <a:gd name="connsiteX14" fmla="*/ 0 w 717555"/>
                <a:gd name="connsiteY14" fmla="*/ 438150 h 1073623"/>
                <a:gd name="connsiteX15" fmla="*/ 57150 w 717555"/>
                <a:gd name="connsiteY15" fmla="*/ 192616 h 1073623"/>
                <a:gd name="connsiteX16" fmla="*/ 131234 w 717555"/>
                <a:gd name="connsiteY16" fmla="*/ 129116 h 1073623"/>
                <a:gd name="connsiteX17" fmla="*/ 165100 w 717555"/>
                <a:gd name="connsiteY17" fmla="*/ 158750 h 1073623"/>
                <a:gd name="connsiteX18" fmla="*/ 218017 w 717555"/>
                <a:gd name="connsiteY18" fmla="*/ 169333 h 1073623"/>
                <a:gd name="connsiteX19" fmla="*/ 285750 w 717555"/>
                <a:gd name="connsiteY19" fmla="*/ 129116 h 1073623"/>
                <a:gd name="connsiteX20" fmla="*/ 325967 w 717555"/>
                <a:gd name="connsiteY20" fmla="*/ 93133 h 1073623"/>
                <a:gd name="connsiteX21" fmla="*/ 340784 w 717555"/>
                <a:gd name="connsiteY21" fmla="*/ 40216 h 1073623"/>
                <a:gd name="connsiteX22" fmla="*/ 330200 w 717555"/>
                <a:gd name="connsiteY22" fmla="*/ 0 h 1073623"/>
                <a:gd name="connsiteX23" fmla="*/ 658284 w 717555"/>
                <a:gd name="connsiteY23" fmla="*/ 0 h 1073623"/>
                <a:gd name="connsiteX24" fmla="*/ 709084 w 717555"/>
                <a:gd name="connsiteY24" fmla="*/ 29633 h 1073623"/>
                <a:gd name="connsiteX25" fmla="*/ 717550 w 717555"/>
                <a:gd name="connsiteY25" fmla="*/ 234950 h 1073623"/>
                <a:gd name="connsiteX0" fmla="*/ 717550 w 717555"/>
                <a:gd name="connsiteY0" fmla="*/ 234950 h 1073623"/>
                <a:gd name="connsiteX1" fmla="*/ 717550 w 717555"/>
                <a:gd name="connsiteY1" fmla="*/ 984250 h 1073623"/>
                <a:gd name="connsiteX2" fmla="*/ 618068 w 717555"/>
                <a:gd name="connsiteY2" fmla="*/ 1073149 h 1073623"/>
                <a:gd name="connsiteX3" fmla="*/ 535518 w 717555"/>
                <a:gd name="connsiteY3" fmla="*/ 1013883 h 1073623"/>
                <a:gd name="connsiteX4" fmla="*/ 529167 w 717555"/>
                <a:gd name="connsiteY4" fmla="*/ 876300 h 1073623"/>
                <a:gd name="connsiteX5" fmla="*/ 527050 w 717555"/>
                <a:gd name="connsiteY5" fmla="*/ 590550 h 1073623"/>
                <a:gd name="connsiteX6" fmla="*/ 419100 w 717555"/>
                <a:gd name="connsiteY6" fmla="*/ 590550 h 1073623"/>
                <a:gd name="connsiteX7" fmla="*/ 419100 w 717555"/>
                <a:gd name="connsiteY7" fmla="*/ 973666 h 1073623"/>
                <a:gd name="connsiteX8" fmla="*/ 328084 w 717555"/>
                <a:gd name="connsiteY8" fmla="*/ 1071033 h 1073623"/>
                <a:gd name="connsiteX9" fmla="*/ 237068 w 717555"/>
                <a:gd name="connsiteY9" fmla="*/ 965200 h 1073623"/>
                <a:gd name="connsiteX10" fmla="*/ 234950 w 717555"/>
                <a:gd name="connsiteY10" fmla="*/ 258233 h 1073623"/>
                <a:gd name="connsiteX11" fmla="*/ 203200 w 717555"/>
                <a:gd name="connsiteY11" fmla="*/ 279400 h 1073623"/>
                <a:gd name="connsiteX12" fmla="*/ 158750 w 717555"/>
                <a:gd name="connsiteY12" fmla="*/ 488950 h 1073623"/>
                <a:gd name="connsiteX13" fmla="*/ 61384 w 717555"/>
                <a:gd name="connsiteY13" fmla="*/ 539750 h 1073623"/>
                <a:gd name="connsiteX14" fmla="*/ 0 w 717555"/>
                <a:gd name="connsiteY14" fmla="*/ 438150 h 1073623"/>
                <a:gd name="connsiteX15" fmla="*/ 57150 w 717555"/>
                <a:gd name="connsiteY15" fmla="*/ 192616 h 1073623"/>
                <a:gd name="connsiteX16" fmla="*/ 131234 w 717555"/>
                <a:gd name="connsiteY16" fmla="*/ 129116 h 1073623"/>
                <a:gd name="connsiteX17" fmla="*/ 165100 w 717555"/>
                <a:gd name="connsiteY17" fmla="*/ 158750 h 1073623"/>
                <a:gd name="connsiteX18" fmla="*/ 218017 w 717555"/>
                <a:gd name="connsiteY18" fmla="*/ 169333 h 1073623"/>
                <a:gd name="connsiteX19" fmla="*/ 285750 w 717555"/>
                <a:gd name="connsiteY19" fmla="*/ 129116 h 1073623"/>
                <a:gd name="connsiteX20" fmla="*/ 325967 w 717555"/>
                <a:gd name="connsiteY20" fmla="*/ 93133 h 1073623"/>
                <a:gd name="connsiteX21" fmla="*/ 340784 w 717555"/>
                <a:gd name="connsiteY21" fmla="*/ 40216 h 1073623"/>
                <a:gd name="connsiteX22" fmla="*/ 330200 w 717555"/>
                <a:gd name="connsiteY22" fmla="*/ 0 h 1073623"/>
                <a:gd name="connsiteX23" fmla="*/ 658284 w 717555"/>
                <a:gd name="connsiteY23" fmla="*/ 0 h 1073623"/>
                <a:gd name="connsiteX24" fmla="*/ 709084 w 717555"/>
                <a:gd name="connsiteY24" fmla="*/ 29633 h 1073623"/>
                <a:gd name="connsiteX25" fmla="*/ 717550 w 717555"/>
                <a:gd name="connsiteY25" fmla="*/ 234950 h 1073623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7550 w 717555"/>
                <a:gd name="connsiteY0" fmla="*/ 234950 h 1073149"/>
                <a:gd name="connsiteX1" fmla="*/ 717550 w 717555"/>
                <a:gd name="connsiteY1" fmla="*/ 984250 h 1073149"/>
                <a:gd name="connsiteX2" fmla="*/ 618068 w 717555"/>
                <a:gd name="connsiteY2" fmla="*/ 1073149 h 1073149"/>
                <a:gd name="connsiteX3" fmla="*/ 524934 w 717555"/>
                <a:gd name="connsiteY3" fmla="*/ 984249 h 1073149"/>
                <a:gd name="connsiteX4" fmla="*/ 529167 w 717555"/>
                <a:gd name="connsiteY4" fmla="*/ 876300 h 1073149"/>
                <a:gd name="connsiteX5" fmla="*/ 527050 w 717555"/>
                <a:gd name="connsiteY5" fmla="*/ 590550 h 1073149"/>
                <a:gd name="connsiteX6" fmla="*/ 419100 w 717555"/>
                <a:gd name="connsiteY6" fmla="*/ 590550 h 1073149"/>
                <a:gd name="connsiteX7" fmla="*/ 419100 w 717555"/>
                <a:gd name="connsiteY7" fmla="*/ 973666 h 1073149"/>
                <a:gd name="connsiteX8" fmla="*/ 328084 w 717555"/>
                <a:gd name="connsiteY8" fmla="*/ 1071033 h 1073149"/>
                <a:gd name="connsiteX9" fmla="*/ 237068 w 717555"/>
                <a:gd name="connsiteY9" fmla="*/ 965200 h 1073149"/>
                <a:gd name="connsiteX10" fmla="*/ 234950 w 717555"/>
                <a:gd name="connsiteY10" fmla="*/ 258233 h 1073149"/>
                <a:gd name="connsiteX11" fmla="*/ 203200 w 717555"/>
                <a:gd name="connsiteY11" fmla="*/ 279400 h 1073149"/>
                <a:gd name="connsiteX12" fmla="*/ 158750 w 717555"/>
                <a:gd name="connsiteY12" fmla="*/ 488950 h 1073149"/>
                <a:gd name="connsiteX13" fmla="*/ 61384 w 717555"/>
                <a:gd name="connsiteY13" fmla="*/ 539750 h 1073149"/>
                <a:gd name="connsiteX14" fmla="*/ 0 w 717555"/>
                <a:gd name="connsiteY14" fmla="*/ 438150 h 1073149"/>
                <a:gd name="connsiteX15" fmla="*/ 57150 w 717555"/>
                <a:gd name="connsiteY15" fmla="*/ 192616 h 1073149"/>
                <a:gd name="connsiteX16" fmla="*/ 131234 w 717555"/>
                <a:gd name="connsiteY16" fmla="*/ 129116 h 1073149"/>
                <a:gd name="connsiteX17" fmla="*/ 165100 w 717555"/>
                <a:gd name="connsiteY17" fmla="*/ 158750 h 1073149"/>
                <a:gd name="connsiteX18" fmla="*/ 218017 w 717555"/>
                <a:gd name="connsiteY18" fmla="*/ 169333 h 1073149"/>
                <a:gd name="connsiteX19" fmla="*/ 285750 w 717555"/>
                <a:gd name="connsiteY19" fmla="*/ 129116 h 1073149"/>
                <a:gd name="connsiteX20" fmla="*/ 325967 w 717555"/>
                <a:gd name="connsiteY20" fmla="*/ 93133 h 1073149"/>
                <a:gd name="connsiteX21" fmla="*/ 340784 w 717555"/>
                <a:gd name="connsiteY21" fmla="*/ 40216 h 1073149"/>
                <a:gd name="connsiteX22" fmla="*/ 330200 w 717555"/>
                <a:gd name="connsiteY22" fmla="*/ 0 h 1073149"/>
                <a:gd name="connsiteX23" fmla="*/ 658284 w 717555"/>
                <a:gd name="connsiteY23" fmla="*/ 0 h 1073149"/>
                <a:gd name="connsiteX24" fmla="*/ 709084 w 717555"/>
                <a:gd name="connsiteY24" fmla="*/ 29633 h 1073149"/>
                <a:gd name="connsiteX25" fmla="*/ 717550 w 717555"/>
                <a:gd name="connsiteY25" fmla="*/ 234950 h 1073149"/>
                <a:gd name="connsiteX0" fmla="*/ 718569 w 718574"/>
                <a:gd name="connsiteY0" fmla="*/ 234950 h 1073149"/>
                <a:gd name="connsiteX1" fmla="*/ 718569 w 718574"/>
                <a:gd name="connsiteY1" fmla="*/ 984250 h 1073149"/>
                <a:gd name="connsiteX2" fmla="*/ 619087 w 718574"/>
                <a:gd name="connsiteY2" fmla="*/ 1073149 h 1073149"/>
                <a:gd name="connsiteX3" fmla="*/ 525953 w 718574"/>
                <a:gd name="connsiteY3" fmla="*/ 984249 h 1073149"/>
                <a:gd name="connsiteX4" fmla="*/ 530186 w 718574"/>
                <a:gd name="connsiteY4" fmla="*/ 876300 h 1073149"/>
                <a:gd name="connsiteX5" fmla="*/ 528069 w 718574"/>
                <a:gd name="connsiteY5" fmla="*/ 590550 h 1073149"/>
                <a:gd name="connsiteX6" fmla="*/ 420119 w 718574"/>
                <a:gd name="connsiteY6" fmla="*/ 590550 h 1073149"/>
                <a:gd name="connsiteX7" fmla="*/ 420119 w 718574"/>
                <a:gd name="connsiteY7" fmla="*/ 973666 h 1073149"/>
                <a:gd name="connsiteX8" fmla="*/ 329103 w 718574"/>
                <a:gd name="connsiteY8" fmla="*/ 1071033 h 1073149"/>
                <a:gd name="connsiteX9" fmla="*/ 238087 w 718574"/>
                <a:gd name="connsiteY9" fmla="*/ 965200 h 1073149"/>
                <a:gd name="connsiteX10" fmla="*/ 235969 w 718574"/>
                <a:gd name="connsiteY10" fmla="*/ 258233 h 1073149"/>
                <a:gd name="connsiteX11" fmla="*/ 204219 w 718574"/>
                <a:gd name="connsiteY11" fmla="*/ 279400 h 1073149"/>
                <a:gd name="connsiteX12" fmla="*/ 159769 w 718574"/>
                <a:gd name="connsiteY12" fmla="*/ 488950 h 1073149"/>
                <a:gd name="connsiteX13" fmla="*/ 62403 w 718574"/>
                <a:gd name="connsiteY13" fmla="*/ 539750 h 1073149"/>
                <a:gd name="connsiteX14" fmla="*/ 1019 w 718574"/>
                <a:gd name="connsiteY14" fmla="*/ 438150 h 1073149"/>
                <a:gd name="connsiteX15" fmla="*/ 58169 w 718574"/>
                <a:gd name="connsiteY15" fmla="*/ 192616 h 1073149"/>
                <a:gd name="connsiteX16" fmla="*/ 132253 w 718574"/>
                <a:gd name="connsiteY16" fmla="*/ 129116 h 1073149"/>
                <a:gd name="connsiteX17" fmla="*/ 166119 w 718574"/>
                <a:gd name="connsiteY17" fmla="*/ 158750 h 1073149"/>
                <a:gd name="connsiteX18" fmla="*/ 219036 w 718574"/>
                <a:gd name="connsiteY18" fmla="*/ 169333 h 1073149"/>
                <a:gd name="connsiteX19" fmla="*/ 286769 w 718574"/>
                <a:gd name="connsiteY19" fmla="*/ 129116 h 1073149"/>
                <a:gd name="connsiteX20" fmla="*/ 326986 w 718574"/>
                <a:gd name="connsiteY20" fmla="*/ 93133 h 1073149"/>
                <a:gd name="connsiteX21" fmla="*/ 341803 w 718574"/>
                <a:gd name="connsiteY21" fmla="*/ 40216 h 1073149"/>
                <a:gd name="connsiteX22" fmla="*/ 331219 w 718574"/>
                <a:gd name="connsiteY22" fmla="*/ 0 h 1073149"/>
                <a:gd name="connsiteX23" fmla="*/ 659303 w 718574"/>
                <a:gd name="connsiteY23" fmla="*/ 0 h 1073149"/>
                <a:gd name="connsiteX24" fmla="*/ 710103 w 718574"/>
                <a:gd name="connsiteY24" fmla="*/ 29633 h 1073149"/>
                <a:gd name="connsiteX25" fmla="*/ 718569 w 718574"/>
                <a:gd name="connsiteY25" fmla="*/ 234950 h 1073149"/>
                <a:gd name="connsiteX0" fmla="*/ 718696 w 718701"/>
                <a:gd name="connsiteY0" fmla="*/ 234950 h 1073149"/>
                <a:gd name="connsiteX1" fmla="*/ 718696 w 718701"/>
                <a:gd name="connsiteY1" fmla="*/ 984250 h 1073149"/>
                <a:gd name="connsiteX2" fmla="*/ 619214 w 718701"/>
                <a:gd name="connsiteY2" fmla="*/ 1073149 h 1073149"/>
                <a:gd name="connsiteX3" fmla="*/ 526080 w 718701"/>
                <a:gd name="connsiteY3" fmla="*/ 984249 h 1073149"/>
                <a:gd name="connsiteX4" fmla="*/ 530313 w 718701"/>
                <a:gd name="connsiteY4" fmla="*/ 876300 h 1073149"/>
                <a:gd name="connsiteX5" fmla="*/ 528196 w 718701"/>
                <a:gd name="connsiteY5" fmla="*/ 590550 h 1073149"/>
                <a:gd name="connsiteX6" fmla="*/ 420246 w 718701"/>
                <a:gd name="connsiteY6" fmla="*/ 590550 h 1073149"/>
                <a:gd name="connsiteX7" fmla="*/ 420246 w 718701"/>
                <a:gd name="connsiteY7" fmla="*/ 973666 h 1073149"/>
                <a:gd name="connsiteX8" fmla="*/ 329230 w 718701"/>
                <a:gd name="connsiteY8" fmla="*/ 1071033 h 1073149"/>
                <a:gd name="connsiteX9" fmla="*/ 238214 w 718701"/>
                <a:gd name="connsiteY9" fmla="*/ 965200 h 1073149"/>
                <a:gd name="connsiteX10" fmla="*/ 236096 w 718701"/>
                <a:gd name="connsiteY10" fmla="*/ 258233 h 1073149"/>
                <a:gd name="connsiteX11" fmla="*/ 204346 w 718701"/>
                <a:gd name="connsiteY11" fmla="*/ 279400 h 1073149"/>
                <a:gd name="connsiteX12" fmla="*/ 159896 w 718701"/>
                <a:gd name="connsiteY12" fmla="*/ 488950 h 1073149"/>
                <a:gd name="connsiteX13" fmla="*/ 58297 w 718701"/>
                <a:gd name="connsiteY13" fmla="*/ 535517 h 1073149"/>
                <a:gd name="connsiteX14" fmla="*/ 1146 w 718701"/>
                <a:gd name="connsiteY14" fmla="*/ 438150 h 1073149"/>
                <a:gd name="connsiteX15" fmla="*/ 58296 w 718701"/>
                <a:gd name="connsiteY15" fmla="*/ 192616 h 1073149"/>
                <a:gd name="connsiteX16" fmla="*/ 132380 w 718701"/>
                <a:gd name="connsiteY16" fmla="*/ 129116 h 1073149"/>
                <a:gd name="connsiteX17" fmla="*/ 166246 w 718701"/>
                <a:gd name="connsiteY17" fmla="*/ 158750 h 1073149"/>
                <a:gd name="connsiteX18" fmla="*/ 219163 w 718701"/>
                <a:gd name="connsiteY18" fmla="*/ 169333 h 1073149"/>
                <a:gd name="connsiteX19" fmla="*/ 286896 w 718701"/>
                <a:gd name="connsiteY19" fmla="*/ 129116 h 1073149"/>
                <a:gd name="connsiteX20" fmla="*/ 327113 w 718701"/>
                <a:gd name="connsiteY20" fmla="*/ 93133 h 1073149"/>
                <a:gd name="connsiteX21" fmla="*/ 341930 w 718701"/>
                <a:gd name="connsiteY21" fmla="*/ 40216 h 1073149"/>
                <a:gd name="connsiteX22" fmla="*/ 331346 w 718701"/>
                <a:gd name="connsiteY22" fmla="*/ 0 h 1073149"/>
                <a:gd name="connsiteX23" fmla="*/ 659430 w 718701"/>
                <a:gd name="connsiteY23" fmla="*/ 0 h 1073149"/>
                <a:gd name="connsiteX24" fmla="*/ 710230 w 718701"/>
                <a:gd name="connsiteY24" fmla="*/ 29633 h 1073149"/>
                <a:gd name="connsiteX25" fmla="*/ 718696 w 718701"/>
                <a:gd name="connsiteY25" fmla="*/ 234950 h 1073149"/>
                <a:gd name="connsiteX0" fmla="*/ 718696 w 718701"/>
                <a:gd name="connsiteY0" fmla="*/ 234967 h 1073166"/>
                <a:gd name="connsiteX1" fmla="*/ 718696 w 718701"/>
                <a:gd name="connsiteY1" fmla="*/ 984267 h 1073166"/>
                <a:gd name="connsiteX2" fmla="*/ 619214 w 718701"/>
                <a:gd name="connsiteY2" fmla="*/ 1073166 h 1073166"/>
                <a:gd name="connsiteX3" fmla="*/ 526080 w 718701"/>
                <a:gd name="connsiteY3" fmla="*/ 984266 h 1073166"/>
                <a:gd name="connsiteX4" fmla="*/ 530313 w 718701"/>
                <a:gd name="connsiteY4" fmla="*/ 876317 h 1073166"/>
                <a:gd name="connsiteX5" fmla="*/ 528196 w 718701"/>
                <a:gd name="connsiteY5" fmla="*/ 590567 h 1073166"/>
                <a:gd name="connsiteX6" fmla="*/ 420246 w 718701"/>
                <a:gd name="connsiteY6" fmla="*/ 590567 h 1073166"/>
                <a:gd name="connsiteX7" fmla="*/ 420246 w 718701"/>
                <a:gd name="connsiteY7" fmla="*/ 973683 h 1073166"/>
                <a:gd name="connsiteX8" fmla="*/ 329230 w 718701"/>
                <a:gd name="connsiteY8" fmla="*/ 1071050 h 1073166"/>
                <a:gd name="connsiteX9" fmla="*/ 238214 w 718701"/>
                <a:gd name="connsiteY9" fmla="*/ 965217 h 1073166"/>
                <a:gd name="connsiteX10" fmla="*/ 236096 w 718701"/>
                <a:gd name="connsiteY10" fmla="*/ 258250 h 1073166"/>
                <a:gd name="connsiteX11" fmla="*/ 204346 w 718701"/>
                <a:gd name="connsiteY11" fmla="*/ 279417 h 1073166"/>
                <a:gd name="connsiteX12" fmla="*/ 159896 w 718701"/>
                <a:gd name="connsiteY12" fmla="*/ 488967 h 1073166"/>
                <a:gd name="connsiteX13" fmla="*/ 58297 w 718701"/>
                <a:gd name="connsiteY13" fmla="*/ 535534 h 1073166"/>
                <a:gd name="connsiteX14" fmla="*/ 1146 w 718701"/>
                <a:gd name="connsiteY14" fmla="*/ 438167 h 1073166"/>
                <a:gd name="connsiteX15" fmla="*/ 58296 w 718701"/>
                <a:gd name="connsiteY15" fmla="*/ 192633 h 1073166"/>
                <a:gd name="connsiteX16" fmla="*/ 132380 w 718701"/>
                <a:gd name="connsiteY16" fmla="*/ 129133 h 1073166"/>
                <a:gd name="connsiteX17" fmla="*/ 166246 w 718701"/>
                <a:gd name="connsiteY17" fmla="*/ 158767 h 1073166"/>
                <a:gd name="connsiteX18" fmla="*/ 219163 w 718701"/>
                <a:gd name="connsiteY18" fmla="*/ 169350 h 1073166"/>
                <a:gd name="connsiteX19" fmla="*/ 286896 w 718701"/>
                <a:gd name="connsiteY19" fmla="*/ 129133 h 1073166"/>
                <a:gd name="connsiteX20" fmla="*/ 327113 w 718701"/>
                <a:gd name="connsiteY20" fmla="*/ 93150 h 1073166"/>
                <a:gd name="connsiteX21" fmla="*/ 341930 w 718701"/>
                <a:gd name="connsiteY21" fmla="*/ 40233 h 1073166"/>
                <a:gd name="connsiteX22" fmla="*/ 331346 w 718701"/>
                <a:gd name="connsiteY22" fmla="*/ 17 h 1073166"/>
                <a:gd name="connsiteX23" fmla="*/ 659430 w 718701"/>
                <a:gd name="connsiteY23" fmla="*/ 17 h 1073166"/>
                <a:gd name="connsiteX24" fmla="*/ 710230 w 718701"/>
                <a:gd name="connsiteY24" fmla="*/ 29650 h 1073166"/>
                <a:gd name="connsiteX25" fmla="*/ 718696 w 718701"/>
                <a:gd name="connsiteY25" fmla="*/ 234967 h 1073166"/>
                <a:gd name="connsiteX0" fmla="*/ 718696 w 718701"/>
                <a:gd name="connsiteY0" fmla="*/ 234969 h 1073168"/>
                <a:gd name="connsiteX1" fmla="*/ 718696 w 718701"/>
                <a:gd name="connsiteY1" fmla="*/ 984269 h 1073168"/>
                <a:gd name="connsiteX2" fmla="*/ 619214 w 718701"/>
                <a:gd name="connsiteY2" fmla="*/ 1073168 h 1073168"/>
                <a:gd name="connsiteX3" fmla="*/ 526080 w 718701"/>
                <a:gd name="connsiteY3" fmla="*/ 984268 h 1073168"/>
                <a:gd name="connsiteX4" fmla="*/ 530313 w 718701"/>
                <a:gd name="connsiteY4" fmla="*/ 876319 h 1073168"/>
                <a:gd name="connsiteX5" fmla="*/ 528196 w 718701"/>
                <a:gd name="connsiteY5" fmla="*/ 590569 h 1073168"/>
                <a:gd name="connsiteX6" fmla="*/ 420246 w 718701"/>
                <a:gd name="connsiteY6" fmla="*/ 590569 h 1073168"/>
                <a:gd name="connsiteX7" fmla="*/ 420246 w 718701"/>
                <a:gd name="connsiteY7" fmla="*/ 973685 h 1073168"/>
                <a:gd name="connsiteX8" fmla="*/ 329230 w 718701"/>
                <a:gd name="connsiteY8" fmla="*/ 1071052 h 1073168"/>
                <a:gd name="connsiteX9" fmla="*/ 238214 w 718701"/>
                <a:gd name="connsiteY9" fmla="*/ 965219 h 1073168"/>
                <a:gd name="connsiteX10" fmla="*/ 236096 w 718701"/>
                <a:gd name="connsiteY10" fmla="*/ 258252 h 1073168"/>
                <a:gd name="connsiteX11" fmla="*/ 204346 w 718701"/>
                <a:gd name="connsiteY11" fmla="*/ 279419 h 1073168"/>
                <a:gd name="connsiteX12" fmla="*/ 159896 w 718701"/>
                <a:gd name="connsiteY12" fmla="*/ 488969 h 1073168"/>
                <a:gd name="connsiteX13" fmla="*/ 58297 w 718701"/>
                <a:gd name="connsiteY13" fmla="*/ 535536 h 1073168"/>
                <a:gd name="connsiteX14" fmla="*/ 1146 w 718701"/>
                <a:gd name="connsiteY14" fmla="*/ 438169 h 1073168"/>
                <a:gd name="connsiteX15" fmla="*/ 58296 w 718701"/>
                <a:gd name="connsiteY15" fmla="*/ 192635 h 1073168"/>
                <a:gd name="connsiteX16" fmla="*/ 132380 w 718701"/>
                <a:gd name="connsiteY16" fmla="*/ 129135 h 1073168"/>
                <a:gd name="connsiteX17" fmla="*/ 166246 w 718701"/>
                <a:gd name="connsiteY17" fmla="*/ 158769 h 1073168"/>
                <a:gd name="connsiteX18" fmla="*/ 219163 w 718701"/>
                <a:gd name="connsiteY18" fmla="*/ 169352 h 1073168"/>
                <a:gd name="connsiteX19" fmla="*/ 286896 w 718701"/>
                <a:gd name="connsiteY19" fmla="*/ 129135 h 1073168"/>
                <a:gd name="connsiteX20" fmla="*/ 327113 w 718701"/>
                <a:gd name="connsiteY20" fmla="*/ 93152 h 1073168"/>
                <a:gd name="connsiteX21" fmla="*/ 341930 w 718701"/>
                <a:gd name="connsiteY21" fmla="*/ 40235 h 1073168"/>
                <a:gd name="connsiteX22" fmla="*/ 331346 w 718701"/>
                <a:gd name="connsiteY22" fmla="*/ 19 h 1073168"/>
                <a:gd name="connsiteX23" fmla="*/ 659430 w 718701"/>
                <a:gd name="connsiteY23" fmla="*/ 19 h 1073168"/>
                <a:gd name="connsiteX24" fmla="*/ 710230 w 718701"/>
                <a:gd name="connsiteY24" fmla="*/ 29652 h 1073168"/>
                <a:gd name="connsiteX25" fmla="*/ 718696 w 718701"/>
                <a:gd name="connsiteY25" fmla="*/ 234969 h 1073168"/>
                <a:gd name="connsiteX0" fmla="*/ 718696 w 718701"/>
                <a:gd name="connsiteY0" fmla="*/ 234969 h 1073168"/>
                <a:gd name="connsiteX1" fmla="*/ 718696 w 718701"/>
                <a:gd name="connsiteY1" fmla="*/ 984269 h 1073168"/>
                <a:gd name="connsiteX2" fmla="*/ 619214 w 718701"/>
                <a:gd name="connsiteY2" fmla="*/ 1073168 h 1073168"/>
                <a:gd name="connsiteX3" fmla="*/ 526080 w 718701"/>
                <a:gd name="connsiteY3" fmla="*/ 984268 h 1073168"/>
                <a:gd name="connsiteX4" fmla="*/ 530313 w 718701"/>
                <a:gd name="connsiteY4" fmla="*/ 876319 h 1073168"/>
                <a:gd name="connsiteX5" fmla="*/ 528196 w 718701"/>
                <a:gd name="connsiteY5" fmla="*/ 590569 h 1073168"/>
                <a:gd name="connsiteX6" fmla="*/ 420246 w 718701"/>
                <a:gd name="connsiteY6" fmla="*/ 590569 h 1073168"/>
                <a:gd name="connsiteX7" fmla="*/ 420246 w 718701"/>
                <a:gd name="connsiteY7" fmla="*/ 973685 h 1073168"/>
                <a:gd name="connsiteX8" fmla="*/ 329230 w 718701"/>
                <a:gd name="connsiteY8" fmla="*/ 1071052 h 1073168"/>
                <a:gd name="connsiteX9" fmla="*/ 238214 w 718701"/>
                <a:gd name="connsiteY9" fmla="*/ 965219 h 1073168"/>
                <a:gd name="connsiteX10" fmla="*/ 236096 w 718701"/>
                <a:gd name="connsiteY10" fmla="*/ 258252 h 1073168"/>
                <a:gd name="connsiteX11" fmla="*/ 204346 w 718701"/>
                <a:gd name="connsiteY11" fmla="*/ 279419 h 1073168"/>
                <a:gd name="connsiteX12" fmla="*/ 159896 w 718701"/>
                <a:gd name="connsiteY12" fmla="*/ 488969 h 1073168"/>
                <a:gd name="connsiteX13" fmla="*/ 58297 w 718701"/>
                <a:gd name="connsiteY13" fmla="*/ 535536 h 1073168"/>
                <a:gd name="connsiteX14" fmla="*/ 1146 w 718701"/>
                <a:gd name="connsiteY14" fmla="*/ 438169 h 1073168"/>
                <a:gd name="connsiteX15" fmla="*/ 58296 w 718701"/>
                <a:gd name="connsiteY15" fmla="*/ 192635 h 1073168"/>
                <a:gd name="connsiteX16" fmla="*/ 132380 w 718701"/>
                <a:gd name="connsiteY16" fmla="*/ 129135 h 1073168"/>
                <a:gd name="connsiteX17" fmla="*/ 166246 w 718701"/>
                <a:gd name="connsiteY17" fmla="*/ 158769 h 1073168"/>
                <a:gd name="connsiteX18" fmla="*/ 219163 w 718701"/>
                <a:gd name="connsiteY18" fmla="*/ 169352 h 1073168"/>
                <a:gd name="connsiteX19" fmla="*/ 286896 w 718701"/>
                <a:gd name="connsiteY19" fmla="*/ 129135 h 1073168"/>
                <a:gd name="connsiteX20" fmla="*/ 327113 w 718701"/>
                <a:gd name="connsiteY20" fmla="*/ 93152 h 1073168"/>
                <a:gd name="connsiteX21" fmla="*/ 341930 w 718701"/>
                <a:gd name="connsiteY21" fmla="*/ 40235 h 1073168"/>
                <a:gd name="connsiteX22" fmla="*/ 331346 w 718701"/>
                <a:gd name="connsiteY22" fmla="*/ 19 h 1073168"/>
                <a:gd name="connsiteX23" fmla="*/ 659430 w 718701"/>
                <a:gd name="connsiteY23" fmla="*/ 19 h 1073168"/>
                <a:gd name="connsiteX24" fmla="*/ 710230 w 718701"/>
                <a:gd name="connsiteY24" fmla="*/ 29652 h 1073168"/>
                <a:gd name="connsiteX25" fmla="*/ 718696 w 718701"/>
                <a:gd name="connsiteY25" fmla="*/ 234969 h 1073168"/>
                <a:gd name="connsiteX0" fmla="*/ 718696 w 718701"/>
                <a:gd name="connsiteY0" fmla="*/ 234969 h 1073168"/>
                <a:gd name="connsiteX1" fmla="*/ 718696 w 718701"/>
                <a:gd name="connsiteY1" fmla="*/ 984269 h 1073168"/>
                <a:gd name="connsiteX2" fmla="*/ 619214 w 718701"/>
                <a:gd name="connsiteY2" fmla="*/ 1073168 h 1073168"/>
                <a:gd name="connsiteX3" fmla="*/ 526080 w 718701"/>
                <a:gd name="connsiteY3" fmla="*/ 984268 h 1073168"/>
                <a:gd name="connsiteX4" fmla="*/ 530313 w 718701"/>
                <a:gd name="connsiteY4" fmla="*/ 876319 h 1073168"/>
                <a:gd name="connsiteX5" fmla="*/ 528196 w 718701"/>
                <a:gd name="connsiteY5" fmla="*/ 590569 h 1073168"/>
                <a:gd name="connsiteX6" fmla="*/ 420246 w 718701"/>
                <a:gd name="connsiteY6" fmla="*/ 590569 h 1073168"/>
                <a:gd name="connsiteX7" fmla="*/ 420246 w 718701"/>
                <a:gd name="connsiteY7" fmla="*/ 973685 h 1073168"/>
                <a:gd name="connsiteX8" fmla="*/ 329230 w 718701"/>
                <a:gd name="connsiteY8" fmla="*/ 1071052 h 1073168"/>
                <a:gd name="connsiteX9" fmla="*/ 238214 w 718701"/>
                <a:gd name="connsiteY9" fmla="*/ 965219 h 1073168"/>
                <a:gd name="connsiteX10" fmla="*/ 236096 w 718701"/>
                <a:gd name="connsiteY10" fmla="*/ 258252 h 1073168"/>
                <a:gd name="connsiteX11" fmla="*/ 204346 w 718701"/>
                <a:gd name="connsiteY11" fmla="*/ 279419 h 1073168"/>
                <a:gd name="connsiteX12" fmla="*/ 159896 w 718701"/>
                <a:gd name="connsiteY12" fmla="*/ 488969 h 1073168"/>
                <a:gd name="connsiteX13" fmla="*/ 58297 w 718701"/>
                <a:gd name="connsiteY13" fmla="*/ 535536 h 1073168"/>
                <a:gd name="connsiteX14" fmla="*/ 1146 w 718701"/>
                <a:gd name="connsiteY14" fmla="*/ 438169 h 1073168"/>
                <a:gd name="connsiteX15" fmla="*/ 58296 w 718701"/>
                <a:gd name="connsiteY15" fmla="*/ 192635 h 1073168"/>
                <a:gd name="connsiteX16" fmla="*/ 132380 w 718701"/>
                <a:gd name="connsiteY16" fmla="*/ 129135 h 1073168"/>
                <a:gd name="connsiteX17" fmla="*/ 166246 w 718701"/>
                <a:gd name="connsiteY17" fmla="*/ 158769 h 1073168"/>
                <a:gd name="connsiteX18" fmla="*/ 219163 w 718701"/>
                <a:gd name="connsiteY18" fmla="*/ 169352 h 1073168"/>
                <a:gd name="connsiteX19" fmla="*/ 286896 w 718701"/>
                <a:gd name="connsiteY19" fmla="*/ 129135 h 1073168"/>
                <a:gd name="connsiteX20" fmla="*/ 327113 w 718701"/>
                <a:gd name="connsiteY20" fmla="*/ 93152 h 1073168"/>
                <a:gd name="connsiteX21" fmla="*/ 341930 w 718701"/>
                <a:gd name="connsiteY21" fmla="*/ 40235 h 1073168"/>
                <a:gd name="connsiteX22" fmla="*/ 331346 w 718701"/>
                <a:gd name="connsiteY22" fmla="*/ 19 h 1073168"/>
                <a:gd name="connsiteX23" fmla="*/ 659430 w 718701"/>
                <a:gd name="connsiteY23" fmla="*/ 19 h 1073168"/>
                <a:gd name="connsiteX24" fmla="*/ 710230 w 718701"/>
                <a:gd name="connsiteY24" fmla="*/ 29652 h 1073168"/>
                <a:gd name="connsiteX25" fmla="*/ 718696 w 718701"/>
                <a:gd name="connsiteY25" fmla="*/ 234969 h 1073168"/>
                <a:gd name="connsiteX0" fmla="*/ 718696 w 718701"/>
                <a:gd name="connsiteY0" fmla="*/ 234969 h 1073168"/>
                <a:gd name="connsiteX1" fmla="*/ 718696 w 718701"/>
                <a:gd name="connsiteY1" fmla="*/ 984269 h 1073168"/>
                <a:gd name="connsiteX2" fmla="*/ 619214 w 718701"/>
                <a:gd name="connsiteY2" fmla="*/ 1073168 h 1073168"/>
                <a:gd name="connsiteX3" fmla="*/ 526080 w 718701"/>
                <a:gd name="connsiteY3" fmla="*/ 984268 h 1073168"/>
                <a:gd name="connsiteX4" fmla="*/ 530313 w 718701"/>
                <a:gd name="connsiteY4" fmla="*/ 876319 h 1073168"/>
                <a:gd name="connsiteX5" fmla="*/ 528196 w 718701"/>
                <a:gd name="connsiteY5" fmla="*/ 590569 h 1073168"/>
                <a:gd name="connsiteX6" fmla="*/ 420246 w 718701"/>
                <a:gd name="connsiteY6" fmla="*/ 590569 h 1073168"/>
                <a:gd name="connsiteX7" fmla="*/ 420246 w 718701"/>
                <a:gd name="connsiteY7" fmla="*/ 973685 h 1073168"/>
                <a:gd name="connsiteX8" fmla="*/ 329230 w 718701"/>
                <a:gd name="connsiteY8" fmla="*/ 1071052 h 1073168"/>
                <a:gd name="connsiteX9" fmla="*/ 238214 w 718701"/>
                <a:gd name="connsiteY9" fmla="*/ 965219 h 1073168"/>
                <a:gd name="connsiteX10" fmla="*/ 236096 w 718701"/>
                <a:gd name="connsiteY10" fmla="*/ 258252 h 1073168"/>
                <a:gd name="connsiteX11" fmla="*/ 204346 w 718701"/>
                <a:gd name="connsiteY11" fmla="*/ 279419 h 1073168"/>
                <a:gd name="connsiteX12" fmla="*/ 159896 w 718701"/>
                <a:gd name="connsiteY12" fmla="*/ 488969 h 1073168"/>
                <a:gd name="connsiteX13" fmla="*/ 58297 w 718701"/>
                <a:gd name="connsiteY13" fmla="*/ 535536 h 1073168"/>
                <a:gd name="connsiteX14" fmla="*/ 1146 w 718701"/>
                <a:gd name="connsiteY14" fmla="*/ 438169 h 1073168"/>
                <a:gd name="connsiteX15" fmla="*/ 58296 w 718701"/>
                <a:gd name="connsiteY15" fmla="*/ 192635 h 1073168"/>
                <a:gd name="connsiteX16" fmla="*/ 132380 w 718701"/>
                <a:gd name="connsiteY16" fmla="*/ 129135 h 1073168"/>
                <a:gd name="connsiteX17" fmla="*/ 166246 w 718701"/>
                <a:gd name="connsiteY17" fmla="*/ 158769 h 1073168"/>
                <a:gd name="connsiteX18" fmla="*/ 219163 w 718701"/>
                <a:gd name="connsiteY18" fmla="*/ 169352 h 1073168"/>
                <a:gd name="connsiteX19" fmla="*/ 286896 w 718701"/>
                <a:gd name="connsiteY19" fmla="*/ 129135 h 1073168"/>
                <a:gd name="connsiteX20" fmla="*/ 327113 w 718701"/>
                <a:gd name="connsiteY20" fmla="*/ 93152 h 1073168"/>
                <a:gd name="connsiteX21" fmla="*/ 341930 w 718701"/>
                <a:gd name="connsiteY21" fmla="*/ 40235 h 1073168"/>
                <a:gd name="connsiteX22" fmla="*/ 331346 w 718701"/>
                <a:gd name="connsiteY22" fmla="*/ 19 h 1073168"/>
                <a:gd name="connsiteX23" fmla="*/ 659430 w 718701"/>
                <a:gd name="connsiteY23" fmla="*/ 19 h 1073168"/>
                <a:gd name="connsiteX24" fmla="*/ 710230 w 718701"/>
                <a:gd name="connsiteY24" fmla="*/ 29652 h 1073168"/>
                <a:gd name="connsiteX25" fmla="*/ 718696 w 718701"/>
                <a:gd name="connsiteY25" fmla="*/ 234969 h 1073168"/>
                <a:gd name="connsiteX0" fmla="*/ 718696 w 718701"/>
                <a:gd name="connsiteY0" fmla="*/ 234969 h 1073168"/>
                <a:gd name="connsiteX1" fmla="*/ 718696 w 718701"/>
                <a:gd name="connsiteY1" fmla="*/ 984269 h 1073168"/>
                <a:gd name="connsiteX2" fmla="*/ 619214 w 718701"/>
                <a:gd name="connsiteY2" fmla="*/ 1073168 h 1073168"/>
                <a:gd name="connsiteX3" fmla="*/ 526080 w 718701"/>
                <a:gd name="connsiteY3" fmla="*/ 984268 h 1073168"/>
                <a:gd name="connsiteX4" fmla="*/ 530313 w 718701"/>
                <a:gd name="connsiteY4" fmla="*/ 876319 h 1073168"/>
                <a:gd name="connsiteX5" fmla="*/ 528196 w 718701"/>
                <a:gd name="connsiteY5" fmla="*/ 590569 h 1073168"/>
                <a:gd name="connsiteX6" fmla="*/ 420246 w 718701"/>
                <a:gd name="connsiteY6" fmla="*/ 590569 h 1073168"/>
                <a:gd name="connsiteX7" fmla="*/ 420246 w 718701"/>
                <a:gd name="connsiteY7" fmla="*/ 973685 h 1073168"/>
                <a:gd name="connsiteX8" fmla="*/ 329230 w 718701"/>
                <a:gd name="connsiteY8" fmla="*/ 1071052 h 1073168"/>
                <a:gd name="connsiteX9" fmla="*/ 238214 w 718701"/>
                <a:gd name="connsiteY9" fmla="*/ 965219 h 1073168"/>
                <a:gd name="connsiteX10" fmla="*/ 236096 w 718701"/>
                <a:gd name="connsiteY10" fmla="*/ 258252 h 1073168"/>
                <a:gd name="connsiteX11" fmla="*/ 204346 w 718701"/>
                <a:gd name="connsiteY11" fmla="*/ 279419 h 1073168"/>
                <a:gd name="connsiteX12" fmla="*/ 159896 w 718701"/>
                <a:gd name="connsiteY12" fmla="*/ 488969 h 1073168"/>
                <a:gd name="connsiteX13" fmla="*/ 58297 w 718701"/>
                <a:gd name="connsiteY13" fmla="*/ 535536 h 1073168"/>
                <a:gd name="connsiteX14" fmla="*/ 1146 w 718701"/>
                <a:gd name="connsiteY14" fmla="*/ 438169 h 1073168"/>
                <a:gd name="connsiteX15" fmla="*/ 58296 w 718701"/>
                <a:gd name="connsiteY15" fmla="*/ 192635 h 1073168"/>
                <a:gd name="connsiteX16" fmla="*/ 132380 w 718701"/>
                <a:gd name="connsiteY16" fmla="*/ 129135 h 1073168"/>
                <a:gd name="connsiteX17" fmla="*/ 166246 w 718701"/>
                <a:gd name="connsiteY17" fmla="*/ 158769 h 1073168"/>
                <a:gd name="connsiteX18" fmla="*/ 219163 w 718701"/>
                <a:gd name="connsiteY18" fmla="*/ 169352 h 1073168"/>
                <a:gd name="connsiteX19" fmla="*/ 286896 w 718701"/>
                <a:gd name="connsiteY19" fmla="*/ 129135 h 1073168"/>
                <a:gd name="connsiteX20" fmla="*/ 327113 w 718701"/>
                <a:gd name="connsiteY20" fmla="*/ 93152 h 1073168"/>
                <a:gd name="connsiteX21" fmla="*/ 341930 w 718701"/>
                <a:gd name="connsiteY21" fmla="*/ 40235 h 1073168"/>
                <a:gd name="connsiteX22" fmla="*/ 331346 w 718701"/>
                <a:gd name="connsiteY22" fmla="*/ 19 h 1073168"/>
                <a:gd name="connsiteX23" fmla="*/ 659430 w 718701"/>
                <a:gd name="connsiteY23" fmla="*/ 19 h 1073168"/>
                <a:gd name="connsiteX24" fmla="*/ 710230 w 718701"/>
                <a:gd name="connsiteY24" fmla="*/ 29652 h 1073168"/>
                <a:gd name="connsiteX25" fmla="*/ 718696 w 718701"/>
                <a:gd name="connsiteY25" fmla="*/ 234969 h 107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18701" h="1073168">
                  <a:moveTo>
                    <a:pt x="718696" y="234969"/>
                  </a:moveTo>
                  <a:lnTo>
                    <a:pt x="718696" y="984269"/>
                  </a:lnTo>
                  <a:cubicBezTo>
                    <a:pt x="719402" y="1037185"/>
                    <a:pt x="651317" y="1073168"/>
                    <a:pt x="619214" y="1073168"/>
                  </a:cubicBezTo>
                  <a:cubicBezTo>
                    <a:pt x="587111" y="1073168"/>
                    <a:pt x="528196" y="1028718"/>
                    <a:pt x="526080" y="984268"/>
                  </a:cubicBezTo>
                  <a:cubicBezTo>
                    <a:pt x="524282" y="946493"/>
                    <a:pt x="529960" y="941935"/>
                    <a:pt x="530313" y="876319"/>
                  </a:cubicBezTo>
                  <a:cubicBezTo>
                    <a:pt x="530666" y="810703"/>
                    <a:pt x="528196" y="719686"/>
                    <a:pt x="528196" y="590569"/>
                  </a:cubicBezTo>
                  <a:lnTo>
                    <a:pt x="420246" y="590569"/>
                  </a:lnTo>
                  <a:lnTo>
                    <a:pt x="420246" y="973685"/>
                  </a:lnTo>
                  <a:cubicBezTo>
                    <a:pt x="417423" y="1025191"/>
                    <a:pt x="391319" y="1072463"/>
                    <a:pt x="329230" y="1071052"/>
                  </a:cubicBezTo>
                  <a:cubicBezTo>
                    <a:pt x="267141" y="1069641"/>
                    <a:pt x="236803" y="1017431"/>
                    <a:pt x="238214" y="965219"/>
                  </a:cubicBezTo>
                  <a:lnTo>
                    <a:pt x="236096" y="258252"/>
                  </a:lnTo>
                  <a:lnTo>
                    <a:pt x="204346" y="279419"/>
                  </a:lnTo>
                  <a:lnTo>
                    <a:pt x="159896" y="488969"/>
                  </a:lnTo>
                  <a:cubicBezTo>
                    <a:pt x="138025" y="522835"/>
                    <a:pt x="107686" y="550353"/>
                    <a:pt x="58297" y="535536"/>
                  </a:cubicBezTo>
                  <a:cubicBezTo>
                    <a:pt x="20398" y="524166"/>
                    <a:pt x="-5909" y="474153"/>
                    <a:pt x="1146" y="438169"/>
                  </a:cubicBezTo>
                  <a:lnTo>
                    <a:pt x="58296" y="192635"/>
                  </a:lnTo>
                  <a:lnTo>
                    <a:pt x="132380" y="129135"/>
                  </a:lnTo>
                  <a:cubicBezTo>
                    <a:pt x="143669" y="139013"/>
                    <a:pt x="152829" y="152060"/>
                    <a:pt x="166246" y="158769"/>
                  </a:cubicBezTo>
                  <a:cubicBezTo>
                    <a:pt x="190235" y="170764"/>
                    <a:pt x="201677" y="173573"/>
                    <a:pt x="219163" y="169352"/>
                  </a:cubicBezTo>
                  <a:cubicBezTo>
                    <a:pt x="239625" y="164413"/>
                    <a:pt x="264318" y="142541"/>
                    <a:pt x="286896" y="129135"/>
                  </a:cubicBezTo>
                  <a:cubicBezTo>
                    <a:pt x="300302" y="117141"/>
                    <a:pt x="315355" y="106766"/>
                    <a:pt x="327113" y="93152"/>
                  </a:cubicBezTo>
                  <a:cubicBezTo>
                    <a:pt x="340519" y="77630"/>
                    <a:pt x="336991" y="57874"/>
                    <a:pt x="341930" y="40235"/>
                  </a:cubicBezTo>
                  <a:cubicBezTo>
                    <a:pt x="345668" y="26887"/>
                    <a:pt x="334874" y="13424"/>
                    <a:pt x="331346" y="19"/>
                  </a:cubicBezTo>
                  <a:lnTo>
                    <a:pt x="659430" y="19"/>
                  </a:lnTo>
                  <a:cubicBezTo>
                    <a:pt x="684830" y="-686"/>
                    <a:pt x="712347" y="17658"/>
                    <a:pt x="710230" y="29652"/>
                  </a:cubicBezTo>
                  <a:lnTo>
                    <a:pt x="718696" y="23496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1000" err="1">
                <a:solidFill>
                  <a:schemeClr val="bg1"/>
                </a:solidFill>
              </a:endParaRPr>
            </a:p>
          </p:txBody>
        </p:sp>
        <p:sp>
          <p:nvSpPr>
            <p:cNvPr id="67" name="Abgerundetes Rechteck 66"/>
            <p:cNvSpPr/>
            <p:nvPr/>
          </p:nvSpPr>
          <p:spPr>
            <a:xfrm rot="19401443">
              <a:off x="2709003" y="711073"/>
              <a:ext cx="192409" cy="12950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1000" err="1">
                <a:solidFill>
                  <a:schemeClr val="bg1"/>
                </a:solidFill>
              </a:endParaRPr>
            </a:p>
          </p:txBody>
        </p:sp>
        <p:sp>
          <p:nvSpPr>
            <p:cNvPr id="68" name="Ellipse 67"/>
            <p:cNvSpPr/>
            <p:nvPr/>
          </p:nvSpPr>
          <p:spPr>
            <a:xfrm>
              <a:off x="3383407" y="257788"/>
              <a:ext cx="418373" cy="41837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1000" err="1">
                <a:solidFill>
                  <a:schemeClr val="bg1"/>
                </a:solidFill>
              </a:endParaRPr>
            </a:p>
          </p:txBody>
        </p:sp>
        <p:sp>
          <p:nvSpPr>
            <p:cNvPr id="69" name="Ellipse 68"/>
            <p:cNvSpPr/>
            <p:nvPr/>
          </p:nvSpPr>
          <p:spPr>
            <a:xfrm>
              <a:off x="2842587" y="257788"/>
              <a:ext cx="418373" cy="41837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de-DE" sz="10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0FD134A3-AE81-4AAE-92FA-A7CF79C8CDC8}"/>
              </a:ext>
            </a:extLst>
          </p:cNvPr>
          <p:cNvGrpSpPr/>
          <p:nvPr/>
        </p:nvGrpSpPr>
        <p:grpSpPr>
          <a:xfrm>
            <a:off x="257186" y="2743750"/>
            <a:ext cx="11603624" cy="1961610"/>
            <a:chOff x="258522" y="2748415"/>
            <a:chExt cx="11603624" cy="1961610"/>
          </a:xfrm>
        </p:grpSpPr>
        <p:sp>
          <p:nvSpPr>
            <p:cNvPr id="41" name="Rechteck 40"/>
            <p:cNvSpPr/>
            <p:nvPr/>
          </p:nvSpPr>
          <p:spPr>
            <a:xfrm>
              <a:off x="258522" y="2748415"/>
              <a:ext cx="1339588" cy="195479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24000" rtlCol="0" anchor="t"/>
            <a:lstStyle/>
            <a:p>
              <a:pPr algn="ctr"/>
              <a:r>
                <a:rPr lang="de-DE" sz="1600" b="1" dirty="0">
                  <a:latin typeface="Open Sans" panose="020B0606030504020204"/>
                </a:rPr>
                <a:t>Projekte</a:t>
              </a: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1775963" y="2748415"/>
              <a:ext cx="10086183" cy="1961610"/>
              <a:chOff x="1794625" y="2791690"/>
              <a:chExt cx="10062413" cy="1824699"/>
            </a:xfrm>
          </p:grpSpPr>
          <p:grpSp>
            <p:nvGrpSpPr>
              <p:cNvPr id="9" name="Gruppieren 8"/>
              <p:cNvGrpSpPr/>
              <p:nvPr/>
            </p:nvGrpSpPr>
            <p:grpSpPr>
              <a:xfrm>
                <a:off x="7041055" y="2846925"/>
                <a:ext cx="4815983" cy="1598483"/>
                <a:chOff x="7041055" y="2846925"/>
                <a:chExt cx="4815983" cy="1598483"/>
              </a:xfrm>
            </p:grpSpPr>
            <p:sp>
              <p:nvSpPr>
                <p:cNvPr id="5" name="Textfeld 4"/>
                <p:cNvSpPr txBox="1"/>
                <p:nvPr/>
              </p:nvSpPr>
              <p:spPr>
                <a:xfrm>
                  <a:off x="7049934" y="3372754"/>
                  <a:ext cx="4807104" cy="300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500" b="1" err="1">
                      <a:latin typeface="Open Sans" panose="020B0606030504020204"/>
                    </a:rPr>
                    <a:t>Integramus</a:t>
                  </a:r>
                  <a:r>
                    <a:rPr lang="de-DE" sz="1500" b="1">
                      <a:latin typeface="Open Sans" panose="020B0606030504020204"/>
                    </a:rPr>
                    <a:t> e.V.</a:t>
                  </a:r>
                </a:p>
              </p:txBody>
            </p:sp>
            <p:sp>
              <p:nvSpPr>
                <p:cNvPr id="23" name="Google Shape;81;p6">
                  <a:extLst>
                    <a:ext uri="{FF2B5EF4-FFF2-40B4-BE49-F238E27FC236}">
                      <a16:creationId xmlns:a16="http://schemas.microsoft.com/office/drawing/2014/main" id="{7E2A21B2-78C4-504F-9388-994571ADB824}"/>
                    </a:ext>
                  </a:extLst>
                </p:cNvPr>
                <p:cNvSpPr/>
                <p:nvPr/>
              </p:nvSpPr>
              <p:spPr>
                <a:xfrm>
                  <a:off x="7041055" y="3898571"/>
                  <a:ext cx="4807105" cy="546837"/>
                </a:xfrm>
                <a:prstGeom prst="rect">
                  <a:avLst/>
                </a:prstGeom>
                <a:noFill/>
                <a:ln w="19050" cap="flat" cmpd="sng">
                  <a:noFill/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algn="ctr"/>
                  <a:r>
                    <a:rPr lang="de-DE" sz="1400" err="1"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  <a:sym typeface="Arial"/>
                    </a:rPr>
                    <a:t>Integramus</a:t>
                  </a:r>
                  <a:r>
                    <a:rPr lang="de-DE" sz="1400"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  <a:sym typeface="Arial"/>
                    </a:rPr>
                    <a:t> e.V. setzt sich schwerpunktmäßig für die Unterstützung von Waisenkindern in Afrika ein.</a:t>
                  </a:r>
                  <a:endParaRPr sz="140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grpSp>
              <p:nvGrpSpPr>
                <p:cNvPr id="6" name="Gruppieren 5"/>
                <p:cNvGrpSpPr/>
                <p:nvPr/>
              </p:nvGrpSpPr>
              <p:grpSpPr>
                <a:xfrm>
                  <a:off x="10593812" y="2846925"/>
                  <a:ext cx="1170296" cy="377306"/>
                  <a:chOff x="10628422" y="2669371"/>
                  <a:chExt cx="1170296" cy="377306"/>
                </a:xfrm>
              </p:grpSpPr>
              <p:pic>
                <p:nvPicPr>
                  <p:cNvPr id="39" name="Picture 50">
                    <a:extLst>
                      <a:ext uri="{FF2B5EF4-FFF2-40B4-BE49-F238E27FC236}">
                        <a16:creationId xmlns:a16="http://schemas.microsoft.com/office/drawing/2014/main" id="{449FB1A0-3F4F-824F-AD53-DC73A14AB40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11005728" y="2733238"/>
                    <a:ext cx="792990" cy="228735"/>
                  </a:xfrm>
                  <a:prstGeom prst="rect">
                    <a:avLst/>
                  </a:prstGeom>
                </p:spPr>
              </p:pic>
              <p:pic>
                <p:nvPicPr>
                  <p:cNvPr id="40" name="Picture 51">
                    <a:extLst>
                      <a:ext uri="{FF2B5EF4-FFF2-40B4-BE49-F238E27FC236}">
                        <a16:creationId xmlns:a16="http://schemas.microsoft.com/office/drawing/2014/main" id="{6226CA0B-5A94-894C-8727-0FC8F013AD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628422" y="2669371"/>
                    <a:ext cx="377306" cy="377306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31" name="Rectangle 39">
                <a:extLst>
                  <a:ext uri="{FF2B5EF4-FFF2-40B4-BE49-F238E27FC236}">
                    <a16:creationId xmlns:a16="http://schemas.microsoft.com/office/drawing/2014/main" id="{D284E63E-8F6F-C642-946A-7F066CEB08E8}"/>
                  </a:ext>
                </a:extLst>
              </p:cNvPr>
              <p:cNvSpPr/>
              <p:nvPr/>
            </p:nvSpPr>
            <p:spPr>
              <a:xfrm>
                <a:off x="1803505" y="2791690"/>
                <a:ext cx="4807103" cy="1818361"/>
              </a:xfrm>
              <a:prstGeom prst="rect">
                <a:avLst/>
              </a:prstGeom>
              <a:noFill/>
              <a:ln w="19050">
                <a:solidFill>
                  <a:srgbClr val="00206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3" name="Rectangle 39">
                <a:extLst>
                  <a:ext uri="{FF2B5EF4-FFF2-40B4-BE49-F238E27FC236}">
                    <a16:creationId xmlns:a16="http://schemas.microsoft.com/office/drawing/2014/main" id="{D284E63E-8F6F-C642-946A-7F066CEB08E8}"/>
                  </a:ext>
                </a:extLst>
              </p:cNvPr>
              <p:cNvSpPr/>
              <p:nvPr/>
            </p:nvSpPr>
            <p:spPr>
              <a:xfrm>
                <a:off x="7049934" y="2791691"/>
                <a:ext cx="4807103" cy="1824698"/>
              </a:xfrm>
              <a:prstGeom prst="rect">
                <a:avLst/>
              </a:prstGeom>
              <a:noFill/>
              <a:ln w="19050">
                <a:solidFill>
                  <a:srgbClr val="00206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8" name="Gruppieren 7"/>
              <p:cNvGrpSpPr/>
              <p:nvPr/>
            </p:nvGrpSpPr>
            <p:grpSpPr>
              <a:xfrm>
                <a:off x="1794625" y="2832544"/>
                <a:ext cx="4815984" cy="1572677"/>
                <a:chOff x="1794625" y="2832544"/>
                <a:chExt cx="4815984" cy="1572677"/>
              </a:xfrm>
            </p:grpSpPr>
            <p:pic>
              <p:nvPicPr>
                <p:cNvPr id="36" name="Picture 46">
                  <a:extLst>
                    <a:ext uri="{FF2B5EF4-FFF2-40B4-BE49-F238E27FC236}">
                      <a16:creationId xmlns:a16="http://schemas.microsoft.com/office/drawing/2014/main" id="{4CA03CE0-8CC3-BA4F-B0D1-D5A6AC225C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511559" y="2832544"/>
                  <a:ext cx="1054659" cy="443285"/>
                </a:xfrm>
                <a:prstGeom prst="rect">
                  <a:avLst/>
                </a:prstGeom>
              </p:spPr>
            </p:pic>
            <p:sp>
              <p:nvSpPr>
                <p:cNvPr id="52" name="Textfeld 51"/>
                <p:cNvSpPr txBox="1"/>
                <p:nvPr/>
              </p:nvSpPr>
              <p:spPr>
                <a:xfrm>
                  <a:off x="1803505" y="3372754"/>
                  <a:ext cx="4807104" cy="300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500" b="1">
                      <a:latin typeface="Open Sans" panose="020B0606030504020204"/>
                    </a:rPr>
                    <a:t>Förderverein für krebskranke Kinder Tübingen </a:t>
                  </a:r>
                  <a:r>
                    <a:rPr lang="de-DE" sz="1500" b="1" err="1">
                      <a:latin typeface="Open Sans" panose="020B0606030504020204"/>
                    </a:rPr>
                    <a:t>e.V</a:t>
                  </a:r>
                  <a:endParaRPr lang="de-DE" sz="1500" b="1">
                    <a:latin typeface="Open Sans" panose="020B0606030504020204"/>
                  </a:endParaRPr>
                </a:p>
              </p:txBody>
            </p:sp>
            <p:sp>
              <p:nvSpPr>
                <p:cNvPr id="54" name="Google Shape;81;p6">
                  <a:extLst>
                    <a:ext uri="{FF2B5EF4-FFF2-40B4-BE49-F238E27FC236}">
                      <a16:creationId xmlns:a16="http://schemas.microsoft.com/office/drawing/2014/main" id="{7E2A21B2-78C4-504F-9388-994571ADB824}"/>
                    </a:ext>
                  </a:extLst>
                </p:cNvPr>
                <p:cNvSpPr/>
                <p:nvPr/>
              </p:nvSpPr>
              <p:spPr>
                <a:xfrm>
                  <a:off x="1794625" y="3898571"/>
                  <a:ext cx="4807105" cy="506650"/>
                </a:xfrm>
                <a:prstGeom prst="rect">
                  <a:avLst/>
                </a:prstGeom>
                <a:noFill/>
                <a:ln w="19050" cap="flat" cmpd="sng">
                  <a:noFill/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algn="ctr"/>
                  <a:r>
                    <a:rPr lang="de-DE" sz="1400"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  <a:sym typeface="Arial"/>
                    </a:rPr>
                    <a:t>Der Verein setzt sich seit 1982 für krebskranke Kinder und deren Familien an der Kinderklinik Tübingen ein.</a:t>
                  </a:r>
                  <a:endParaRPr sz="140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  <p:grpSp>
          <p:nvGrpSpPr>
            <p:cNvPr id="45" name="Group 43"/>
            <p:cNvGrpSpPr>
              <a:grpSpLocks noChangeAspect="1"/>
            </p:cNvGrpSpPr>
            <p:nvPr/>
          </p:nvGrpSpPr>
          <p:grpSpPr>
            <a:xfrm>
              <a:off x="782506" y="3531001"/>
              <a:ext cx="361989" cy="287999"/>
              <a:chOff x="273050" y="1465810"/>
              <a:chExt cx="1391276" cy="1106907"/>
            </a:xfrm>
            <a:solidFill>
              <a:schemeClr val="bg1"/>
            </a:solidFill>
          </p:grpSpPr>
          <p:sp>
            <p:nvSpPr>
              <p:cNvPr id="46" name="Freeform 6"/>
              <p:cNvSpPr>
                <a:spLocks/>
              </p:cNvSpPr>
              <p:nvPr/>
            </p:nvSpPr>
            <p:spPr bwMode="auto">
              <a:xfrm>
                <a:off x="273050" y="2066436"/>
                <a:ext cx="1391276" cy="506281"/>
              </a:xfrm>
              <a:custGeom>
                <a:avLst/>
                <a:gdLst/>
                <a:ahLst/>
                <a:cxnLst>
                  <a:cxn ang="0">
                    <a:pos x="25" y="161"/>
                  </a:cxn>
                  <a:cxn ang="0">
                    <a:pos x="0" y="51"/>
                  </a:cxn>
                  <a:cxn ang="0">
                    <a:pos x="129" y="8"/>
                  </a:cxn>
                  <a:cxn ang="0">
                    <a:pos x="172" y="4"/>
                  </a:cxn>
                  <a:cxn ang="0">
                    <a:pos x="273" y="44"/>
                  </a:cxn>
                  <a:cxn ang="0">
                    <a:pos x="285" y="49"/>
                  </a:cxn>
                  <a:cxn ang="0">
                    <a:pos x="267" y="96"/>
                  </a:cxn>
                  <a:cxn ang="0">
                    <a:pos x="233" y="84"/>
                  </a:cxn>
                  <a:cxn ang="0">
                    <a:pos x="222" y="90"/>
                  </a:cxn>
                  <a:cxn ang="0">
                    <a:pos x="263" y="104"/>
                  </a:cxn>
                  <a:cxn ang="0">
                    <a:pos x="279" y="106"/>
                  </a:cxn>
                  <a:cxn ang="0">
                    <a:pos x="308" y="58"/>
                  </a:cxn>
                  <a:cxn ang="0">
                    <a:pos x="387" y="21"/>
                  </a:cxn>
                  <a:cxn ang="0">
                    <a:pos x="412" y="64"/>
                  </a:cxn>
                  <a:cxn ang="0">
                    <a:pos x="293" y="132"/>
                  </a:cxn>
                  <a:cxn ang="0">
                    <a:pos x="269" y="137"/>
                  </a:cxn>
                  <a:cxn ang="0">
                    <a:pos x="144" y="111"/>
                  </a:cxn>
                  <a:cxn ang="0">
                    <a:pos x="102" y="117"/>
                  </a:cxn>
                  <a:cxn ang="0">
                    <a:pos x="25" y="161"/>
                  </a:cxn>
                </a:cxnLst>
                <a:rect l="0" t="0" r="r" b="b"/>
                <a:pathLst>
                  <a:path w="443" h="161">
                    <a:moveTo>
                      <a:pt x="25" y="161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44" y="1"/>
                      <a:pt x="159" y="0"/>
                      <a:pt x="172" y="4"/>
                    </a:cubicBezTo>
                    <a:cubicBezTo>
                      <a:pt x="273" y="44"/>
                      <a:pt x="273" y="44"/>
                      <a:pt x="273" y="44"/>
                    </a:cubicBezTo>
                    <a:cubicBezTo>
                      <a:pt x="285" y="49"/>
                      <a:pt x="285" y="49"/>
                      <a:pt x="285" y="49"/>
                    </a:cubicBezTo>
                    <a:cubicBezTo>
                      <a:pt x="312" y="59"/>
                      <a:pt x="305" y="107"/>
                      <a:pt x="267" y="96"/>
                    </a:cubicBezTo>
                    <a:cubicBezTo>
                      <a:pt x="233" y="84"/>
                      <a:pt x="233" y="84"/>
                      <a:pt x="233" y="84"/>
                    </a:cubicBezTo>
                    <a:cubicBezTo>
                      <a:pt x="214" y="78"/>
                      <a:pt x="212" y="87"/>
                      <a:pt x="222" y="90"/>
                    </a:cubicBezTo>
                    <a:cubicBezTo>
                      <a:pt x="263" y="104"/>
                      <a:pt x="263" y="104"/>
                      <a:pt x="263" y="104"/>
                    </a:cubicBezTo>
                    <a:cubicBezTo>
                      <a:pt x="269" y="106"/>
                      <a:pt x="273" y="106"/>
                      <a:pt x="279" y="106"/>
                    </a:cubicBezTo>
                    <a:cubicBezTo>
                      <a:pt x="299" y="105"/>
                      <a:pt x="318" y="86"/>
                      <a:pt x="308" y="58"/>
                    </a:cubicBezTo>
                    <a:cubicBezTo>
                      <a:pt x="387" y="21"/>
                      <a:pt x="387" y="21"/>
                      <a:pt x="387" y="21"/>
                    </a:cubicBezTo>
                    <a:cubicBezTo>
                      <a:pt x="417" y="3"/>
                      <a:pt x="443" y="46"/>
                      <a:pt x="412" y="64"/>
                    </a:cubicBezTo>
                    <a:cubicBezTo>
                      <a:pt x="293" y="132"/>
                      <a:pt x="293" y="132"/>
                      <a:pt x="293" y="132"/>
                    </a:cubicBezTo>
                    <a:cubicBezTo>
                      <a:pt x="285" y="137"/>
                      <a:pt x="276" y="139"/>
                      <a:pt x="269" y="137"/>
                    </a:cubicBezTo>
                    <a:cubicBezTo>
                      <a:pt x="144" y="111"/>
                      <a:pt x="144" y="111"/>
                      <a:pt x="144" y="111"/>
                    </a:cubicBezTo>
                    <a:cubicBezTo>
                      <a:pt x="123" y="106"/>
                      <a:pt x="122" y="106"/>
                      <a:pt x="102" y="117"/>
                    </a:cubicBezTo>
                    <a:cubicBezTo>
                      <a:pt x="25" y="161"/>
                      <a:pt x="25" y="161"/>
                      <a:pt x="25" y="1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7" name="Freeform 17"/>
              <p:cNvSpPr>
                <a:spLocks/>
              </p:cNvSpPr>
              <p:nvPr/>
            </p:nvSpPr>
            <p:spPr bwMode="auto">
              <a:xfrm>
                <a:off x="828497" y="1465810"/>
                <a:ext cx="814567" cy="768062"/>
              </a:xfrm>
              <a:custGeom>
                <a:avLst/>
                <a:gdLst/>
                <a:ahLst/>
                <a:cxnLst>
                  <a:cxn ang="0">
                    <a:pos x="167" y="174"/>
                  </a:cxn>
                  <a:cxn ang="0">
                    <a:pos x="150" y="165"/>
                  </a:cxn>
                  <a:cxn ang="0">
                    <a:pos x="113" y="146"/>
                  </a:cxn>
                  <a:cxn ang="0">
                    <a:pos x="196" y="103"/>
                  </a:cxn>
                  <a:cxn ang="0">
                    <a:pos x="244" y="34"/>
                  </a:cxn>
                  <a:cxn ang="0">
                    <a:pos x="248" y="2"/>
                  </a:cxn>
                  <a:cxn ang="0">
                    <a:pos x="201" y="2"/>
                  </a:cxn>
                  <a:cxn ang="0">
                    <a:pos x="117" y="99"/>
                  </a:cxn>
                  <a:cxn ang="0">
                    <a:pos x="208" y="29"/>
                  </a:cxn>
                  <a:cxn ang="0">
                    <a:pos x="107" y="130"/>
                  </a:cxn>
                  <a:cxn ang="0">
                    <a:pos x="100" y="144"/>
                  </a:cxn>
                  <a:cxn ang="0">
                    <a:pos x="87" y="145"/>
                  </a:cxn>
                  <a:cxn ang="0">
                    <a:pos x="54" y="155"/>
                  </a:cxn>
                  <a:cxn ang="0">
                    <a:pos x="23" y="172"/>
                  </a:cxn>
                  <a:cxn ang="0">
                    <a:pos x="0" y="189"/>
                  </a:cxn>
                  <a:cxn ang="0">
                    <a:pos x="125" y="244"/>
                  </a:cxn>
                  <a:cxn ang="0">
                    <a:pos x="206" y="205"/>
                  </a:cxn>
                  <a:cxn ang="0">
                    <a:pos x="206" y="205"/>
                  </a:cxn>
                  <a:cxn ang="0">
                    <a:pos x="206" y="205"/>
                  </a:cxn>
                  <a:cxn ang="0">
                    <a:pos x="206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7" y="205"/>
                  </a:cxn>
                  <a:cxn ang="0">
                    <a:pos x="208" y="205"/>
                  </a:cxn>
                  <a:cxn ang="0">
                    <a:pos x="208" y="205"/>
                  </a:cxn>
                  <a:cxn ang="0">
                    <a:pos x="208" y="205"/>
                  </a:cxn>
                  <a:cxn ang="0">
                    <a:pos x="208" y="205"/>
                  </a:cxn>
                  <a:cxn ang="0">
                    <a:pos x="186" y="186"/>
                  </a:cxn>
                </a:cxnLst>
                <a:rect l="0" t="0" r="r" b="b"/>
                <a:pathLst>
                  <a:path w="259" h="244">
                    <a:moveTo>
                      <a:pt x="186" y="186"/>
                    </a:moveTo>
                    <a:cubicBezTo>
                      <a:pt x="180" y="177"/>
                      <a:pt x="171" y="174"/>
                      <a:pt x="167" y="174"/>
                    </a:cubicBezTo>
                    <a:cubicBezTo>
                      <a:pt x="165" y="173"/>
                      <a:pt x="166" y="174"/>
                      <a:pt x="164" y="172"/>
                    </a:cubicBezTo>
                    <a:cubicBezTo>
                      <a:pt x="159" y="168"/>
                      <a:pt x="156" y="165"/>
                      <a:pt x="150" y="165"/>
                    </a:cubicBezTo>
                    <a:cubicBezTo>
                      <a:pt x="144" y="164"/>
                      <a:pt x="136" y="162"/>
                      <a:pt x="130" y="157"/>
                    </a:cubicBezTo>
                    <a:cubicBezTo>
                      <a:pt x="125" y="153"/>
                      <a:pt x="120" y="147"/>
                      <a:pt x="113" y="146"/>
                    </a:cubicBezTo>
                    <a:cubicBezTo>
                      <a:pt x="115" y="142"/>
                      <a:pt x="121" y="129"/>
                      <a:pt x="131" y="116"/>
                    </a:cubicBezTo>
                    <a:cubicBezTo>
                      <a:pt x="145" y="98"/>
                      <a:pt x="177" y="104"/>
                      <a:pt x="196" y="103"/>
                    </a:cubicBezTo>
                    <a:cubicBezTo>
                      <a:pt x="220" y="102"/>
                      <a:pt x="232" y="89"/>
                      <a:pt x="238" y="73"/>
                    </a:cubicBezTo>
                    <a:cubicBezTo>
                      <a:pt x="243" y="58"/>
                      <a:pt x="243" y="49"/>
                      <a:pt x="244" y="34"/>
                    </a:cubicBezTo>
                    <a:cubicBezTo>
                      <a:pt x="246" y="14"/>
                      <a:pt x="258" y="9"/>
                      <a:pt x="258" y="6"/>
                    </a:cubicBezTo>
                    <a:cubicBezTo>
                      <a:pt x="259" y="4"/>
                      <a:pt x="255" y="3"/>
                      <a:pt x="248" y="2"/>
                    </a:cubicBezTo>
                    <a:cubicBezTo>
                      <a:pt x="243" y="1"/>
                      <a:pt x="237" y="1"/>
                      <a:pt x="232" y="1"/>
                    </a:cubicBezTo>
                    <a:cubicBezTo>
                      <a:pt x="220" y="0"/>
                      <a:pt x="204" y="2"/>
                      <a:pt x="201" y="2"/>
                    </a:cubicBezTo>
                    <a:cubicBezTo>
                      <a:pt x="162" y="8"/>
                      <a:pt x="109" y="31"/>
                      <a:pt x="115" y="86"/>
                    </a:cubicBezTo>
                    <a:cubicBezTo>
                      <a:pt x="116" y="90"/>
                      <a:pt x="116" y="95"/>
                      <a:pt x="117" y="99"/>
                    </a:cubicBezTo>
                    <a:cubicBezTo>
                      <a:pt x="134" y="72"/>
                      <a:pt x="153" y="49"/>
                      <a:pt x="177" y="34"/>
                    </a:cubicBezTo>
                    <a:cubicBezTo>
                      <a:pt x="202" y="19"/>
                      <a:pt x="234" y="22"/>
                      <a:pt x="208" y="29"/>
                    </a:cubicBezTo>
                    <a:cubicBezTo>
                      <a:pt x="171" y="40"/>
                      <a:pt x="147" y="68"/>
                      <a:pt x="124" y="103"/>
                    </a:cubicBezTo>
                    <a:cubicBezTo>
                      <a:pt x="118" y="112"/>
                      <a:pt x="112" y="121"/>
                      <a:pt x="107" y="130"/>
                    </a:cubicBezTo>
                    <a:cubicBezTo>
                      <a:pt x="103" y="137"/>
                      <a:pt x="101" y="142"/>
                      <a:pt x="101" y="142"/>
                    </a:cubicBezTo>
                    <a:cubicBezTo>
                      <a:pt x="101" y="142"/>
                      <a:pt x="100" y="143"/>
                      <a:pt x="100" y="144"/>
                    </a:cubicBezTo>
                    <a:cubicBezTo>
                      <a:pt x="99" y="144"/>
                      <a:pt x="99" y="144"/>
                      <a:pt x="99" y="144"/>
                    </a:cubicBezTo>
                    <a:cubicBezTo>
                      <a:pt x="97" y="144"/>
                      <a:pt x="92" y="144"/>
                      <a:pt x="87" y="145"/>
                    </a:cubicBezTo>
                    <a:cubicBezTo>
                      <a:pt x="82" y="146"/>
                      <a:pt x="79" y="149"/>
                      <a:pt x="73" y="151"/>
                    </a:cubicBezTo>
                    <a:cubicBezTo>
                      <a:pt x="67" y="153"/>
                      <a:pt x="58" y="153"/>
                      <a:pt x="54" y="155"/>
                    </a:cubicBezTo>
                    <a:cubicBezTo>
                      <a:pt x="44" y="163"/>
                      <a:pt x="46" y="159"/>
                      <a:pt x="37" y="161"/>
                    </a:cubicBezTo>
                    <a:cubicBezTo>
                      <a:pt x="28" y="164"/>
                      <a:pt x="33" y="165"/>
                      <a:pt x="23" y="172"/>
                    </a:cubicBezTo>
                    <a:cubicBezTo>
                      <a:pt x="13" y="179"/>
                      <a:pt x="17" y="177"/>
                      <a:pt x="9" y="181"/>
                    </a:cubicBezTo>
                    <a:cubicBezTo>
                      <a:pt x="6" y="182"/>
                      <a:pt x="3" y="185"/>
                      <a:pt x="0" y="189"/>
                    </a:cubicBezTo>
                    <a:cubicBezTo>
                      <a:pt x="110" y="233"/>
                      <a:pt x="110" y="233"/>
                      <a:pt x="110" y="233"/>
                    </a:cubicBezTo>
                    <a:cubicBezTo>
                      <a:pt x="116" y="235"/>
                      <a:pt x="121" y="239"/>
                      <a:pt x="125" y="244"/>
                    </a:cubicBezTo>
                    <a:cubicBezTo>
                      <a:pt x="126" y="243"/>
                      <a:pt x="126" y="243"/>
                      <a:pt x="126" y="243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8" y="205"/>
                      <a:pt x="208" y="205"/>
                      <a:pt x="208" y="205"/>
                    </a:cubicBezTo>
                    <a:cubicBezTo>
                      <a:pt x="205" y="202"/>
                      <a:pt x="201" y="198"/>
                      <a:pt x="200" y="196"/>
                    </a:cubicBezTo>
                    <a:cubicBezTo>
                      <a:pt x="196" y="191"/>
                      <a:pt x="190" y="192"/>
                      <a:pt x="186" y="18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8" name="Freeform 18"/>
              <p:cNvSpPr>
                <a:spLocks/>
              </p:cNvSpPr>
              <p:nvPr/>
            </p:nvSpPr>
            <p:spPr bwMode="auto">
              <a:xfrm>
                <a:off x="754083" y="1497699"/>
                <a:ext cx="433196" cy="324232"/>
              </a:xfrm>
              <a:custGeom>
                <a:avLst/>
                <a:gdLst/>
                <a:ahLst/>
                <a:cxnLst>
                  <a:cxn ang="0">
                    <a:pos x="62" y="82"/>
                  </a:cxn>
                  <a:cxn ang="0">
                    <a:pos x="25" y="62"/>
                  </a:cxn>
                  <a:cxn ang="0">
                    <a:pos x="16" y="31"/>
                  </a:cxn>
                  <a:cxn ang="0">
                    <a:pos x="1" y="9"/>
                  </a:cxn>
                  <a:cxn ang="0">
                    <a:pos x="9" y="5"/>
                  </a:cxn>
                  <a:cxn ang="0">
                    <a:pos x="22" y="2"/>
                  </a:cxn>
                  <a:cxn ang="0">
                    <a:pos x="47" y="0"/>
                  </a:cxn>
                  <a:cxn ang="0">
                    <a:pos x="127" y="60"/>
                  </a:cxn>
                  <a:cxn ang="0">
                    <a:pos x="128" y="70"/>
                  </a:cxn>
                  <a:cxn ang="0">
                    <a:pos x="71" y="23"/>
                  </a:cxn>
                  <a:cxn ang="0">
                    <a:pos x="45" y="23"/>
                  </a:cxn>
                  <a:cxn ang="0">
                    <a:pos x="122" y="75"/>
                  </a:cxn>
                  <a:cxn ang="0">
                    <a:pos x="138" y="94"/>
                  </a:cxn>
                  <a:cxn ang="0">
                    <a:pos x="132" y="103"/>
                  </a:cxn>
                  <a:cxn ang="0">
                    <a:pos x="117" y="86"/>
                  </a:cxn>
                  <a:cxn ang="0">
                    <a:pos x="62" y="82"/>
                  </a:cxn>
                </a:cxnLst>
                <a:rect l="0" t="0" r="r" b="b"/>
                <a:pathLst>
                  <a:path w="138" h="103">
                    <a:moveTo>
                      <a:pt x="62" y="82"/>
                    </a:moveTo>
                    <a:cubicBezTo>
                      <a:pt x="43" y="84"/>
                      <a:pt x="32" y="75"/>
                      <a:pt x="25" y="62"/>
                    </a:cubicBezTo>
                    <a:cubicBezTo>
                      <a:pt x="19" y="50"/>
                      <a:pt x="18" y="42"/>
                      <a:pt x="16" y="31"/>
                    </a:cubicBezTo>
                    <a:cubicBezTo>
                      <a:pt x="12" y="14"/>
                      <a:pt x="2" y="12"/>
                      <a:pt x="1" y="9"/>
                    </a:cubicBezTo>
                    <a:cubicBezTo>
                      <a:pt x="0" y="7"/>
                      <a:pt x="3" y="6"/>
                      <a:pt x="9" y="5"/>
                    </a:cubicBezTo>
                    <a:cubicBezTo>
                      <a:pt x="13" y="3"/>
                      <a:pt x="18" y="3"/>
                      <a:pt x="22" y="2"/>
                    </a:cubicBezTo>
                    <a:cubicBezTo>
                      <a:pt x="32" y="0"/>
                      <a:pt x="45" y="0"/>
                      <a:pt x="47" y="0"/>
                    </a:cubicBezTo>
                    <a:cubicBezTo>
                      <a:pt x="81" y="1"/>
                      <a:pt x="126" y="13"/>
                      <a:pt x="127" y="60"/>
                    </a:cubicBezTo>
                    <a:cubicBezTo>
                      <a:pt x="127" y="63"/>
                      <a:pt x="128" y="67"/>
                      <a:pt x="128" y="70"/>
                    </a:cubicBezTo>
                    <a:cubicBezTo>
                      <a:pt x="110" y="50"/>
                      <a:pt x="93" y="33"/>
                      <a:pt x="71" y="23"/>
                    </a:cubicBezTo>
                    <a:cubicBezTo>
                      <a:pt x="49" y="14"/>
                      <a:pt x="23" y="20"/>
                      <a:pt x="45" y="23"/>
                    </a:cubicBezTo>
                    <a:cubicBezTo>
                      <a:pt x="76" y="27"/>
                      <a:pt x="99" y="48"/>
                      <a:pt x="122" y="75"/>
                    </a:cubicBezTo>
                    <a:cubicBezTo>
                      <a:pt x="127" y="81"/>
                      <a:pt x="133" y="87"/>
                      <a:pt x="138" y="94"/>
                    </a:cubicBezTo>
                    <a:cubicBezTo>
                      <a:pt x="136" y="96"/>
                      <a:pt x="134" y="100"/>
                      <a:pt x="132" y="103"/>
                    </a:cubicBezTo>
                    <a:cubicBezTo>
                      <a:pt x="129" y="99"/>
                      <a:pt x="124" y="92"/>
                      <a:pt x="117" y="86"/>
                    </a:cubicBezTo>
                    <a:cubicBezTo>
                      <a:pt x="104" y="73"/>
                      <a:pt x="79" y="81"/>
                      <a:pt x="62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44" name="Rechteck 43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3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3B84BF-C65B-F84E-A5A8-B47899F4F65D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67561DBF-DE80-F148-B281-186EE10E42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9"/>
              <a:tile tx="0" ty="0" sx="100000" sy="100000" flip="none" algn="tl"/>
            </a:blipFill>
          </p:spPr>
        </p:pic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4BE84BF9-598D-D547-B22C-17AB47AE44DE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50" name="Grafik 49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904925E-C6D1-464E-9D62-845C52AD1C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568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6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626882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Unterstützen Sie mit uns den Förderverein für krebskranke Kinder Tübingen e.V.</a:t>
            </a:r>
          </a:p>
        </p:txBody>
      </p:sp>
      <p:sp>
        <p:nvSpPr>
          <p:cNvPr id="22" name="Google Shape;51;p5">
            <a:extLst>
              <a:ext uri="{FF2B5EF4-FFF2-40B4-BE49-F238E27FC236}">
                <a16:creationId xmlns:a16="http://schemas.microsoft.com/office/drawing/2014/main" id="{C12BEA4D-A7A4-BE4E-8A04-A9DA7886FB98}"/>
              </a:ext>
            </a:extLst>
          </p:cNvPr>
          <p:cNvSpPr txBox="1"/>
          <p:nvPr/>
        </p:nvSpPr>
        <p:spPr>
          <a:xfrm>
            <a:off x="1774825" y="5254568"/>
            <a:ext cx="7931734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de-DE" sz="16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Forschung</a:t>
            </a:r>
          </a:p>
          <a:p>
            <a:pPr lvl="0"/>
            <a:endParaRPr lang="de-DE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Weiterentwicklung der Behandlungstherapien in der pädiatrischen Onkologie durch die Forschung.</a:t>
            </a:r>
          </a:p>
        </p:txBody>
      </p:sp>
      <p:sp>
        <p:nvSpPr>
          <p:cNvPr id="25" name="Google Shape;51;p5">
            <a:extLst>
              <a:ext uri="{FF2B5EF4-FFF2-40B4-BE49-F238E27FC236}">
                <a16:creationId xmlns:a16="http://schemas.microsoft.com/office/drawing/2014/main" id="{0A0CE2FF-31E7-9845-9261-F09FE9AEFF28}"/>
              </a:ext>
            </a:extLst>
          </p:cNvPr>
          <p:cNvSpPr txBox="1"/>
          <p:nvPr/>
        </p:nvSpPr>
        <p:spPr>
          <a:xfrm>
            <a:off x="1774825" y="1489498"/>
            <a:ext cx="7940866" cy="1079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de-DE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lternhaus und Familienhaus</a:t>
            </a:r>
          </a:p>
          <a:p>
            <a:pPr lvl="0"/>
            <a:endParaRPr lang="de-DE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Übernachtungsmöglichkeiten in Kliniknähe im Elternhaus und Familienhaus für Angehörige, deren Kind in der Tübinger Kinderklinik aufgrund einer Krebserkrankung in Behandlung ist</a:t>
            </a:r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.</a:t>
            </a:r>
          </a:p>
        </p:txBody>
      </p:sp>
      <p:sp>
        <p:nvSpPr>
          <p:cNvPr id="28" name="Google Shape;51;p5">
            <a:extLst>
              <a:ext uri="{FF2B5EF4-FFF2-40B4-BE49-F238E27FC236}">
                <a16:creationId xmlns:a16="http://schemas.microsoft.com/office/drawing/2014/main" id="{C2A1C6DE-E807-5D42-B5D1-46A439BA763B}"/>
              </a:ext>
            </a:extLst>
          </p:cNvPr>
          <p:cNvSpPr txBox="1"/>
          <p:nvPr/>
        </p:nvSpPr>
        <p:spPr>
          <a:xfrm>
            <a:off x="1774825" y="2744521"/>
            <a:ext cx="7931733" cy="1079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de-DE" sz="16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ntlastung</a:t>
            </a:r>
          </a:p>
          <a:p>
            <a:pPr lvl="0"/>
            <a:endParaRPr lang="de-DE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Rückhalt für die Familien krebskranker Kinder durch die Förderung einer bedarfsgerechten Personalbemessung und technisch-diagnostischen Ausstattung in der Klinik.</a:t>
            </a:r>
          </a:p>
        </p:txBody>
      </p:sp>
      <p:sp>
        <p:nvSpPr>
          <p:cNvPr id="31" name="Google Shape;51;p5">
            <a:extLst>
              <a:ext uri="{FF2B5EF4-FFF2-40B4-BE49-F238E27FC236}">
                <a16:creationId xmlns:a16="http://schemas.microsoft.com/office/drawing/2014/main" id="{F1666AD8-3A3C-7740-8EC4-1E4A22C68662}"/>
              </a:ext>
            </a:extLst>
          </p:cNvPr>
          <p:cNvSpPr txBox="1"/>
          <p:nvPr/>
        </p:nvSpPr>
        <p:spPr>
          <a:xfrm>
            <a:off x="1774825" y="3999544"/>
            <a:ext cx="7931734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de-DE" sz="16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Begleitung</a:t>
            </a:r>
          </a:p>
          <a:p>
            <a:pPr lvl="0"/>
            <a:endParaRPr lang="de-DE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Begleitung der erkrankten Kinder und Familien durch Angebote für die kranken Kinder und deren Familien z. B. Freizeiten, Geschwistertage, Musiktherapie, Trauergruppen …</a:t>
            </a:r>
          </a:p>
        </p:txBody>
      </p:sp>
      <p:sp>
        <p:nvSpPr>
          <p:cNvPr id="13" name="Rechteck 12"/>
          <p:cNvSpPr/>
          <p:nvPr/>
        </p:nvSpPr>
        <p:spPr>
          <a:xfrm>
            <a:off x="334962" y="1489498"/>
            <a:ext cx="1260475" cy="10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Open Sans" panose="020B0606030504020204"/>
              </a:rPr>
              <a:t>1</a:t>
            </a:r>
          </a:p>
        </p:txBody>
      </p:sp>
      <p:sp>
        <p:nvSpPr>
          <p:cNvPr id="42" name="Rechteck 41"/>
          <p:cNvSpPr/>
          <p:nvPr/>
        </p:nvSpPr>
        <p:spPr>
          <a:xfrm>
            <a:off x="334962" y="2742912"/>
            <a:ext cx="1260475" cy="10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Open Sans" panose="020B0606030504020204"/>
              </a:rPr>
              <a:t>2</a:t>
            </a:r>
          </a:p>
        </p:txBody>
      </p:sp>
      <p:sp>
        <p:nvSpPr>
          <p:cNvPr id="44" name="Rechteck 43"/>
          <p:cNvSpPr/>
          <p:nvPr/>
        </p:nvSpPr>
        <p:spPr>
          <a:xfrm>
            <a:off x="334962" y="3996326"/>
            <a:ext cx="1260475" cy="10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Open Sans" panose="020B0606030504020204"/>
              </a:rPr>
              <a:t>3</a:t>
            </a:r>
          </a:p>
        </p:txBody>
      </p:sp>
      <p:sp>
        <p:nvSpPr>
          <p:cNvPr id="45" name="Rechteck 44"/>
          <p:cNvSpPr/>
          <p:nvPr/>
        </p:nvSpPr>
        <p:spPr>
          <a:xfrm>
            <a:off x="334962" y="5249741"/>
            <a:ext cx="1260475" cy="108482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Open Sans" panose="020B0606030504020204"/>
              </a:rPr>
              <a:t>4</a:t>
            </a:r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583" y="5254568"/>
            <a:ext cx="1865455" cy="1080000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585" y="1489498"/>
            <a:ext cx="1865453" cy="1079999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582" y="3999544"/>
            <a:ext cx="1865455" cy="1080000"/>
          </a:xfrm>
          <a:prstGeom prst="rect">
            <a:avLst/>
          </a:prstGeom>
          <a:ln w="12700">
            <a:solidFill>
              <a:srgbClr val="002060"/>
            </a:solidFill>
          </a:ln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581" y="2744520"/>
            <a:ext cx="1865455" cy="1080001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0" name="Rechteck 19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4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C10D364-19C3-E340-9887-898F243A3614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D8FE744D-4041-3947-92AB-A48A8A1ABD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10"/>
              <a:tile tx="0" ty="0" sx="100000" sy="100000" flip="none" algn="tl"/>
            </a:blipFill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AFDC13FD-B4C1-2E4D-9ED3-79207CCDCEEB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27" name="Grafik 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4FF9284-157A-AD4A-BB68-83D789B24C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501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51;p5">
            <a:extLst>
              <a:ext uri="{FF2B5EF4-FFF2-40B4-BE49-F238E27FC236}">
                <a16:creationId xmlns:a16="http://schemas.microsoft.com/office/drawing/2014/main" id="{ACFB028D-AA63-4653-9435-DE3650543A1C}"/>
              </a:ext>
            </a:extLst>
          </p:cNvPr>
          <p:cNvSpPr txBox="1"/>
          <p:nvPr/>
        </p:nvSpPr>
        <p:spPr>
          <a:xfrm>
            <a:off x="334963" y="1625774"/>
            <a:ext cx="11522075" cy="19360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endParaRPr lang="de-DE" sz="1600">
              <a:solidFill>
                <a:prstClr val="black"/>
              </a:solidFill>
              <a:latin typeface="Open Sans" panose="020B0606030504020204"/>
            </a:endParaRPr>
          </a:p>
          <a:p>
            <a:pPr lvl="0"/>
            <a:endParaRPr lang="de-DE" sz="1600">
              <a:solidFill>
                <a:prstClr val="black"/>
              </a:solidFill>
              <a:latin typeface="Open Sans" panose="020B0606030504020204"/>
            </a:endParaRPr>
          </a:p>
          <a:p>
            <a:pPr lvl="0"/>
            <a:endParaRPr lang="de-DE" sz="1600">
              <a:solidFill>
                <a:prstClr val="black"/>
              </a:solidFill>
              <a:latin typeface="Open Sans" panose="020B0606030504020204"/>
            </a:endParaRPr>
          </a:p>
          <a:p>
            <a:pPr lvl="0"/>
            <a:r>
              <a:rPr lang="de-DE" sz="1600">
                <a:solidFill>
                  <a:prstClr val="black"/>
                </a:solidFill>
                <a:latin typeface="Open Sans" panose="020B0606030504020204"/>
              </a:rPr>
              <a:t>Der Verein </a:t>
            </a:r>
            <a:r>
              <a:rPr lang="de-DE" sz="1600" err="1">
                <a:solidFill>
                  <a:prstClr val="black"/>
                </a:solidFill>
                <a:latin typeface="Open Sans" panose="020B0606030504020204"/>
              </a:rPr>
              <a:t>Integramus</a:t>
            </a:r>
            <a:r>
              <a:rPr lang="de-DE" sz="1600">
                <a:solidFill>
                  <a:prstClr val="black"/>
                </a:solidFill>
                <a:latin typeface="Open Sans" panose="020B0606030504020204"/>
              </a:rPr>
              <a:t> e.V. steht ursprünglich für Integrationshilfe ausländischer Kinder und Erwachsene, sowie Aufklärungsarbeit und Sensibilisierung der Bevölkerung durch entwicklungspolitische Bildungsarbeit.</a:t>
            </a:r>
            <a:br>
              <a:rPr lang="de-DE" sz="1600">
                <a:solidFill>
                  <a:prstClr val="black"/>
                </a:solidFill>
                <a:latin typeface="Open Sans" panose="020B0606030504020204"/>
              </a:rPr>
            </a:br>
            <a:br>
              <a:rPr lang="de-DE" sz="1600">
                <a:solidFill>
                  <a:prstClr val="black"/>
                </a:solidFill>
                <a:latin typeface="Open Sans" panose="020B0606030504020204"/>
              </a:rPr>
            </a:br>
            <a:r>
              <a:rPr lang="de-DE" sz="1600">
                <a:solidFill>
                  <a:prstClr val="black"/>
                </a:solidFill>
                <a:latin typeface="Open Sans" panose="020B0606030504020204"/>
              </a:rPr>
              <a:t>Mittlerweile setzt sich </a:t>
            </a:r>
            <a:r>
              <a:rPr lang="de-DE" sz="1600" err="1">
                <a:solidFill>
                  <a:prstClr val="black"/>
                </a:solidFill>
                <a:latin typeface="Open Sans" panose="020B0606030504020204"/>
              </a:rPr>
              <a:t>Integramus</a:t>
            </a:r>
            <a:r>
              <a:rPr lang="de-DE" sz="1600">
                <a:solidFill>
                  <a:prstClr val="black"/>
                </a:solidFill>
                <a:latin typeface="Open Sans" panose="020B0606030504020204"/>
              </a:rPr>
              <a:t> e.V. schwerpunktmäßig mit Hilfsprogrammen in Afrika und Osteuropa ein.</a:t>
            </a:r>
          </a:p>
          <a:p>
            <a:pPr lvl="0"/>
            <a:endParaRPr lang="de-DE" sz="1600">
              <a:solidFill>
                <a:prstClr val="black"/>
              </a:solidFill>
              <a:latin typeface="Open Sans" panose="020B0606030504020204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>
                <a:solidFill>
                  <a:srgbClr val="002060"/>
                </a:solidFill>
                <a:effectLst/>
                <a:latin typeface="Open Sans" panose="020B0606030504020204"/>
              </a:rPr>
              <a:t>Unterstützen Sie mit uns gemeinsam das Projekt </a:t>
            </a:r>
            <a:r>
              <a:rPr lang="de-DE" sz="2400" err="1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Integramus</a:t>
            </a:r>
            <a:r>
              <a:rPr lang="de-DE" sz="240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 </a:t>
            </a:r>
            <a:r>
              <a:rPr lang="de-DE" sz="2400" err="1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e.V</a:t>
            </a:r>
            <a:endParaRPr lang="de-DE" sz="2400">
              <a:solidFill>
                <a:srgbClr val="00206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venir"/>
            </a:endParaRPr>
          </a:p>
        </p:txBody>
      </p:sp>
      <p:sp>
        <p:nvSpPr>
          <p:cNvPr id="26" name="Google Shape;51;p5">
            <a:extLst>
              <a:ext uri="{FF2B5EF4-FFF2-40B4-BE49-F238E27FC236}">
                <a16:creationId xmlns:a16="http://schemas.microsoft.com/office/drawing/2014/main" id="{EABF3FFF-1469-4434-9405-FAF00F4449F1}"/>
              </a:ext>
            </a:extLst>
          </p:cNvPr>
          <p:cNvSpPr txBox="1"/>
          <p:nvPr/>
        </p:nvSpPr>
        <p:spPr>
          <a:xfrm>
            <a:off x="2308834" y="3859208"/>
            <a:ext cx="9548204" cy="2483838"/>
          </a:xfrm>
          <a:prstGeom prst="rect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spcAft>
                <a:spcPts val="600"/>
              </a:spcAft>
            </a:pPr>
            <a:endParaRPr lang="en-IE">
              <a:solidFill>
                <a:schemeClr val="tx2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Grafik 5"/>
          <p:cNvPicPr preferRelativeResize="0"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0683" y="4111058"/>
            <a:ext cx="1850695" cy="1764000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7" name="Textfeld 6"/>
          <p:cNvSpPr txBox="1"/>
          <p:nvPr/>
        </p:nvSpPr>
        <p:spPr>
          <a:xfrm>
            <a:off x="2902030" y="5894114"/>
            <a:ext cx="1548000" cy="276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200">
                <a:latin typeface="Open Sans" panose="020B0606030504020204"/>
              </a:rPr>
              <a:t>Brunnenbau in Kenia</a:t>
            </a:r>
          </a:p>
        </p:txBody>
      </p:sp>
      <p:pic>
        <p:nvPicPr>
          <p:cNvPr id="11" name="Grafik 10"/>
          <p:cNvPicPr preferRelativeResize="0"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8532" y="4111058"/>
            <a:ext cx="1850695" cy="1764000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4" name="Textfeld 23"/>
          <p:cNvSpPr txBox="1"/>
          <p:nvPr/>
        </p:nvSpPr>
        <p:spPr>
          <a:xfrm>
            <a:off x="5179879" y="5894114"/>
            <a:ext cx="1548000" cy="276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200">
                <a:latin typeface="Open Sans" panose="020B0606030504020204"/>
              </a:rPr>
              <a:t>Schulneubau im Togo</a:t>
            </a:r>
          </a:p>
        </p:txBody>
      </p:sp>
      <p:pic>
        <p:nvPicPr>
          <p:cNvPr id="15" name="Grafik 14"/>
          <p:cNvPicPr preferRelativeResize="0"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6381" y="4111058"/>
            <a:ext cx="1870254" cy="1764000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16" name="Grafik 15"/>
          <p:cNvPicPr preferRelativeResize="0">
            <a:picLocks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4230" y="4111058"/>
            <a:ext cx="1850694" cy="1764000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7" name="Textfeld 26"/>
          <p:cNvSpPr txBox="1"/>
          <p:nvPr/>
        </p:nvSpPr>
        <p:spPr>
          <a:xfrm>
            <a:off x="7383368" y="5894114"/>
            <a:ext cx="1716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>
                <a:latin typeface="Open Sans" panose="020B0606030504020204"/>
              </a:rPr>
              <a:t>ABC Sprachkurse in Kenia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9651437" y="5894114"/>
            <a:ext cx="1716280" cy="2327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200">
                <a:latin typeface="Open Sans" panose="020B0606030504020204"/>
              </a:rPr>
              <a:t>Unterstützung in der Ukraine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EB87545-9D57-4D5D-8D2C-2712F581BCAC}"/>
              </a:ext>
            </a:extLst>
          </p:cNvPr>
          <p:cNvGrpSpPr/>
          <p:nvPr/>
        </p:nvGrpSpPr>
        <p:grpSpPr>
          <a:xfrm>
            <a:off x="1480811" y="1859334"/>
            <a:ext cx="9444859" cy="320230"/>
            <a:chOff x="1480811" y="1859334"/>
            <a:chExt cx="9444859" cy="320230"/>
          </a:xfrm>
        </p:grpSpPr>
        <p:sp>
          <p:nvSpPr>
            <p:cNvPr id="21" name="Rechteck 20"/>
            <p:cNvSpPr/>
            <p:nvPr/>
          </p:nvSpPr>
          <p:spPr>
            <a:xfrm>
              <a:off x="1480811" y="1871787"/>
              <a:ext cx="206819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b="1">
                  <a:latin typeface="Open Sans" panose="020B0606030504020204"/>
                </a:rPr>
                <a:t>… ist in 4 Ländern aktiv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357992" y="1871787"/>
              <a:ext cx="2773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b="1" dirty="0">
                  <a:latin typeface="Open Sans" panose="020B0606030504020204"/>
                </a:rPr>
                <a:t>… ist seit 14 Jahren engagiert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7538204" y="1859334"/>
              <a:ext cx="338746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b="1" dirty="0">
                  <a:latin typeface="Open Sans" panose="020B0606030504020204"/>
                </a:rPr>
                <a:t>… hat über 1.500 Kinder unterstützt</a:t>
              </a:r>
            </a:p>
          </p:txBody>
        </p:sp>
      </p:grpSp>
      <p:sp>
        <p:nvSpPr>
          <p:cNvPr id="22" name="Rechteck 21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5</a:t>
            </a:r>
          </a:p>
        </p:txBody>
      </p:sp>
      <p:sp>
        <p:nvSpPr>
          <p:cNvPr id="28" name="Rechteck 2">
            <a:extLst>
              <a:ext uri="{FF2B5EF4-FFF2-40B4-BE49-F238E27FC236}">
                <a16:creationId xmlns:a16="http://schemas.microsoft.com/office/drawing/2014/main" id="{1DADC29B-1D45-4AB0-B918-F8CD5729F34D}"/>
              </a:ext>
            </a:extLst>
          </p:cNvPr>
          <p:cNvSpPr/>
          <p:nvPr/>
        </p:nvSpPr>
        <p:spPr>
          <a:xfrm>
            <a:off x="334963" y="3859208"/>
            <a:ext cx="1779587" cy="248603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12000" rtlCol="0" anchor="t"/>
          <a:lstStyle/>
          <a:p>
            <a:pPr algn="ctr"/>
            <a:r>
              <a:rPr lang="de-DE" b="1" err="1">
                <a:latin typeface="Open Sans" panose="020B0606030504020204"/>
              </a:rPr>
              <a:t>Integramus</a:t>
            </a:r>
            <a:r>
              <a:rPr lang="de-DE" b="1">
                <a:latin typeface="Open Sans" panose="020B0606030504020204"/>
              </a:rPr>
              <a:t> </a:t>
            </a:r>
            <a:r>
              <a:rPr lang="de-DE" b="1" err="1">
                <a:latin typeface="Open Sans" panose="020B0606030504020204"/>
              </a:rPr>
              <a:t>e.V</a:t>
            </a:r>
            <a:endParaRPr lang="de-DE" b="1">
              <a:latin typeface="Open Sans" panose="020B0606030504020204"/>
            </a:endParaRPr>
          </a:p>
        </p:txBody>
      </p:sp>
      <p:pic>
        <p:nvPicPr>
          <p:cNvPr id="32" name="Picture 51">
            <a:extLst>
              <a:ext uri="{FF2B5EF4-FFF2-40B4-BE49-F238E27FC236}">
                <a16:creationId xmlns:a16="http://schemas.microsoft.com/office/drawing/2014/main" id="{DEE9585B-F9FE-474A-9612-D661C52A6D0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046" y="5162459"/>
            <a:ext cx="775421" cy="775421"/>
          </a:xfrm>
          <a:prstGeom prst="rect">
            <a:avLst/>
          </a:prstGeom>
        </p:spPr>
      </p:pic>
      <p:sp>
        <p:nvSpPr>
          <p:cNvPr id="38" name="Google Shape;46;p5">
            <a:extLst>
              <a:ext uri="{FF2B5EF4-FFF2-40B4-BE49-F238E27FC236}">
                <a16:creationId xmlns:a16="http://schemas.microsoft.com/office/drawing/2014/main" id="{E6F70E9D-0F32-4464-9524-6EB2CFBF60D8}"/>
              </a:ext>
            </a:extLst>
          </p:cNvPr>
          <p:cNvSpPr txBox="1">
            <a:spLocks/>
          </p:cNvSpPr>
          <p:nvPr/>
        </p:nvSpPr>
        <p:spPr>
          <a:xfrm>
            <a:off x="423144" y="1498474"/>
            <a:ext cx="1152000" cy="2800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36000" tIns="0" rIns="3600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400"/>
              <a:buFont typeface="Arial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Der Verein …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B87A633-C94C-8E49-92D9-10B27DBB4EAA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1C49747D-8FDF-8245-8AD9-68342B3063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11"/>
              <a:tile tx="0" ty="0" sx="100000" sy="100000" flip="none" algn="tl"/>
            </a:blipFill>
          </p:spPr>
        </p:pic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B56DAD5-708E-0942-800C-D1FB3F2509C2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37" name="Grafik 3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02A06D4E-2ACE-DB41-B4F7-D0238AFE7BD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685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6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  <a:buFont typeface="Avenir"/>
              <a:buNone/>
            </a:pPr>
            <a:r>
              <a:rPr lang="de-DE" sz="2400">
                <a:solidFill>
                  <a:srgbClr val="002060"/>
                </a:solidFill>
                <a:latin typeface="Open Sans" panose="020B0606030504020204"/>
                <a:ea typeface="Open Sans" panose="020B0606030504020204" pitchFamily="34" charset="0"/>
                <a:cs typeface="Arial" panose="020B0604020202020204" pitchFamily="34" charset="0"/>
                <a:sym typeface="Avenir"/>
              </a:rPr>
              <a:t>Sie können uns als Spender oder Sponsor unterstützen</a:t>
            </a:r>
          </a:p>
        </p:txBody>
      </p:sp>
      <p:sp>
        <p:nvSpPr>
          <p:cNvPr id="125" name="Rectangle 122">
            <a:extLst>
              <a:ext uri="{FF2B5EF4-FFF2-40B4-BE49-F238E27FC236}">
                <a16:creationId xmlns:a16="http://schemas.microsoft.com/office/drawing/2014/main" id="{2D495D69-D387-0E48-B7BB-E2DB282FF26C}"/>
              </a:ext>
            </a:extLst>
          </p:cNvPr>
          <p:cNvSpPr/>
          <p:nvPr/>
        </p:nvSpPr>
        <p:spPr>
          <a:xfrm>
            <a:off x="334963" y="1625774"/>
            <a:ext cx="3109573" cy="4703419"/>
          </a:xfrm>
          <a:prstGeom prst="rect">
            <a:avLst/>
          </a:prstGeom>
          <a:noFill/>
          <a:ln w="19050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127" name="Google Shape;51;p5">
            <a:extLst>
              <a:ext uri="{FF2B5EF4-FFF2-40B4-BE49-F238E27FC236}">
                <a16:creationId xmlns:a16="http://schemas.microsoft.com/office/drawing/2014/main" id="{CF468C4C-FEB2-AA45-AD1D-9FB3EB0B6CE3}"/>
              </a:ext>
            </a:extLst>
          </p:cNvPr>
          <p:cNvSpPr txBox="1"/>
          <p:nvPr/>
        </p:nvSpPr>
        <p:spPr>
          <a:xfrm>
            <a:off x="334964" y="2060639"/>
            <a:ext cx="3109571" cy="888672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de-DE" sz="140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Geldspenden</a:t>
            </a: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werden unserer Zielsumme zugewendet und fließen damit direkt an unsere </a:t>
            </a:r>
            <a:r>
              <a:rPr lang="de-DE" sz="140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artnervereine</a:t>
            </a: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:</a:t>
            </a:r>
            <a:endParaRPr lang="de-DE" sz="140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8" name="Google Shape;51;p5">
            <a:extLst>
              <a:ext uri="{FF2B5EF4-FFF2-40B4-BE49-F238E27FC236}">
                <a16:creationId xmlns:a16="http://schemas.microsoft.com/office/drawing/2014/main" id="{67BD2BC0-EA1C-4A49-8009-D12A68E5E0F2}"/>
              </a:ext>
            </a:extLst>
          </p:cNvPr>
          <p:cNvSpPr txBox="1"/>
          <p:nvPr/>
        </p:nvSpPr>
        <p:spPr>
          <a:xfrm>
            <a:off x="620836" y="5285267"/>
            <a:ext cx="2537823" cy="786471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de-DE"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Eine Spendenbescheinigung stellen wir Ihnen sehr gerne aus.</a:t>
            </a:r>
            <a:endParaRPr lang="de-DE" sz="140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29" name="Picture 127">
            <a:extLst>
              <a:ext uri="{FF2B5EF4-FFF2-40B4-BE49-F238E27FC236}">
                <a16:creationId xmlns:a16="http://schemas.microsoft.com/office/drawing/2014/main" id="{A208CE76-EB0D-9F4D-ABA0-FC85C3649F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712" y="3253871"/>
            <a:ext cx="2120573" cy="861902"/>
          </a:xfrm>
          <a:prstGeom prst="rect">
            <a:avLst/>
          </a:prstGeom>
        </p:spPr>
      </p:pic>
      <p:sp>
        <p:nvSpPr>
          <p:cNvPr id="130" name="Rectangle 128">
            <a:extLst>
              <a:ext uri="{FF2B5EF4-FFF2-40B4-BE49-F238E27FC236}">
                <a16:creationId xmlns:a16="http://schemas.microsoft.com/office/drawing/2014/main" id="{4867B87C-B2FE-9E45-ADFD-BB1D347E8687}"/>
              </a:ext>
            </a:extLst>
          </p:cNvPr>
          <p:cNvSpPr/>
          <p:nvPr/>
        </p:nvSpPr>
        <p:spPr>
          <a:xfrm>
            <a:off x="3666478" y="1631533"/>
            <a:ext cx="8190560" cy="4703419"/>
          </a:xfrm>
          <a:prstGeom prst="rect">
            <a:avLst/>
          </a:prstGeom>
          <a:noFill/>
          <a:ln w="19050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132" name="Google Shape;51;p5">
            <a:extLst>
              <a:ext uri="{FF2B5EF4-FFF2-40B4-BE49-F238E27FC236}">
                <a16:creationId xmlns:a16="http://schemas.microsoft.com/office/drawing/2014/main" id="{EB4DACB0-0BEB-0746-A3F8-BB649E220014}"/>
              </a:ext>
            </a:extLst>
          </p:cNvPr>
          <p:cNvSpPr txBox="1"/>
          <p:nvPr/>
        </p:nvSpPr>
        <p:spPr>
          <a:xfrm>
            <a:off x="3749863" y="2060639"/>
            <a:ext cx="8097630" cy="1156571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</a:pP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Durch </a:t>
            </a:r>
            <a:r>
              <a:rPr lang="de-DE" sz="1400">
                <a:solidFill>
                  <a:schemeClr val="dk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ponsoring</a:t>
            </a: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unterstützen Sie die Partnervereine (</a:t>
            </a:r>
            <a:r>
              <a:rPr lang="de-DE" sz="1400" i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Geldsponsoring</a:t>
            </a: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) oder die Organisation der Tour (</a:t>
            </a:r>
            <a:r>
              <a:rPr lang="de-DE" sz="1400" i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Sachsponsoring</a:t>
            </a:r>
            <a:r>
              <a:rPr lang="de-DE" sz="1400" i="1" baseline="300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1</a:t>
            </a:r>
            <a:r>
              <a:rPr lang="de-DE" sz="1400" i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; in Marktwert umgerechnet</a:t>
            </a:r>
            <a:r>
              <a:rPr lang="de-DE" sz="14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).</a:t>
            </a:r>
          </a:p>
          <a:p>
            <a:pPr lvl="0">
              <a:lnSpc>
                <a:spcPct val="120000"/>
              </a:lnSpc>
            </a:pPr>
            <a:endParaRPr lang="de-DE" sz="1400">
              <a:solidFill>
                <a:schemeClr val="dk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Arial"/>
            </a:endParaRPr>
          </a:p>
        </p:txBody>
      </p:sp>
      <p:grpSp>
        <p:nvGrpSpPr>
          <p:cNvPr id="133" name="Group 5">
            <a:extLst>
              <a:ext uri="{FF2B5EF4-FFF2-40B4-BE49-F238E27FC236}">
                <a16:creationId xmlns:a16="http://schemas.microsoft.com/office/drawing/2014/main" id="{CD894ED3-3900-E44F-BD18-19C6FCEBFFE0}"/>
              </a:ext>
            </a:extLst>
          </p:cNvPr>
          <p:cNvGrpSpPr/>
          <p:nvPr/>
        </p:nvGrpSpPr>
        <p:grpSpPr>
          <a:xfrm>
            <a:off x="485530" y="3998422"/>
            <a:ext cx="2541755" cy="918872"/>
            <a:chOff x="604906" y="4173073"/>
            <a:chExt cx="2541755" cy="918872"/>
          </a:xfrm>
        </p:grpSpPr>
        <p:sp>
          <p:nvSpPr>
            <p:cNvPr id="134" name="Rectangle 2">
              <a:extLst>
                <a:ext uri="{FF2B5EF4-FFF2-40B4-BE49-F238E27FC236}">
                  <a16:creationId xmlns:a16="http://schemas.microsoft.com/office/drawing/2014/main" id="{FAC6C870-D0A4-C743-92F4-7D0C5612EDA9}"/>
                </a:ext>
              </a:extLst>
            </p:cNvPr>
            <p:cNvSpPr/>
            <p:nvPr/>
          </p:nvSpPr>
          <p:spPr>
            <a:xfrm>
              <a:off x="604906" y="4233829"/>
              <a:ext cx="2541755" cy="7973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pic>
          <p:nvPicPr>
            <p:cNvPr id="135" name="Picture 4">
              <a:extLst>
                <a:ext uri="{FF2B5EF4-FFF2-40B4-BE49-F238E27FC236}">
                  <a16:creationId xmlns:a16="http://schemas.microsoft.com/office/drawing/2014/main" id="{4CF1A2D6-2F46-8F49-A856-23860229E4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06071" y="4403663"/>
              <a:ext cx="1586753" cy="457692"/>
            </a:xfrm>
            <a:prstGeom prst="rect">
              <a:avLst/>
            </a:prstGeom>
          </p:spPr>
        </p:pic>
        <p:pic>
          <p:nvPicPr>
            <p:cNvPr id="136" name="Picture 1">
              <a:extLst>
                <a:ext uri="{FF2B5EF4-FFF2-40B4-BE49-F238E27FC236}">
                  <a16:creationId xmlns:a16="http://schemas.microsoft.com/office/drawing/2014/main" id="{EC33249C-A36C-B54C-A93E-780502400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660" y="4173073"/>
              <a:ext cx="918872" cy="918872"/>
            </a:xfrm>
            <a:prstGeom prst="rect">
              <a:avLst/>
            </a:prstGeom>
          </p:spPr>
        </p:pic>
      </p:grpSp>
      <p:cxnSp>
        <p:nvCxnSpPr>
          <p:cNvPr id="5" name="Gerader Verbinder 4"/>
          <p:cNvCxnSpPr/>
          <p:nvPr/>
        </p:nvCxnSpPr>
        <p:spPr>
          <a:xfrm>
            <a:off x="989748" y="4996527"/>
            <a:ext cx="1800000" cy="4816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Google Shape;46;p5">
            <a:extLst>
              <a:ext uri="{FF2B5EF4-FFF2-40B4-BE49-F238E27FC236}">
                <a16:creationId xmlns:a16="http://schemas.microsoft.com/office/drawing/2014/main" id="{426EA9FB-29C5-124E-92BB-FE2FA6FC1AE4}"/>
              </a:ext>
            </a:extLst>
          </p:cNvPr>
          <p:cNvSpPr txBox="1">
            <a:spLocks/>
          </p:cNvSpPr>
          <p:nvPr/>
        </p:nvSpPr>
        <p:spPr>
          <a:xfrm>
            <a:off x="3753520" y="1494223"/>
            <a:ext cx="1152000" cy="2800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36000" tIns="0" rIns="3600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400"/>
              <a:buFont typeface="Arial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ponsor</a:t>
            </a:r>
          </a:p>
        </p:txBody>
      </p:sp>
      <p:sp>
        <p:nvSpPr>
          <p:cNvPr id="22" name="Rechteck 21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6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C7BC2EDA-BF41-459B-8189-A6F8B31E7D5E}"/>
              </a:ext>
            </a:extLst>
          </p:cNvPr>
          <p:cNvGrpSpPr/>
          <p:nvPr/>
        </p:nvGrpSpPr>
        <p:grpSpPr>
          <a:xfrm>
            <a:off x="3805827" y="2695113"/>
            <a:ext cx="7913676" cy="2913739"/>
            <a:chOff x="3850431" y="3051947"/>
            <a:chExt cx="7913676" cy="2913739"/>
          </a:xfrm>
        </p:grpSpPr>
        <p:graphicFrame>
          <p:nvGraphicFramePr>
            <p:cNvPr id="139" name="Google Shape;221;p10">
              <a:extLst>
                <a:ext uri="{FF2B5EF4-FFF2-40B4-BE49-F238E27FC236}">
                  <a16:creationId xmlns:a16="http://schemas.microsoft.com/office/drawing/2014/main" id="{7270E5D0-F25E-A848-86AB-9EAB644E9E5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07434912"/>
                </p:ext>
              </p:extLst>
            </p:nvPr>
          </p:nvGraphicFramePr>
          <p:xfrm>
            <a:off x="3850431" y="3204809"/>
            <a:ext cx="7913676" cy="2760877"/>
          </p:xfrm>
          <a:graphic>
            <a:graphicData uri="http://schemas.openxmlformats.org/drawingml/2006/table">
              <a:tbl>
                <a:tblPr firstRow="1" bandRow="1">
                  <a:noFill/>
                </a:tblPr>
                <a:tblGrid>
                  <a:gridCol w="3402202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72059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972059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170888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1396468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</a:tblGrid>
                <a:tr h="529865">
                  <a:tc>
                    <a:txBody>
                      <a:bodyPr/>
                      <a:lstStyle/>
                      <a:p>
                        <a:pPr marL="0" marR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sz="1800" b="0" i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endParaRPr>
                      </a:p>
                    </a:txBody>
                    <a:tcPr marL="91450" marR="91450" marT="45725" marB="45725">
                      <a:lnL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1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Bronze</a:t>
                        </a:r>
                        <a:r>
                          <a:rPr lang="de-DE" sz="1200" b="0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 </a:t>
                        </a:r>
                      </a:p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050" b="0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250 €</a:t>
                        </a:r>
                        <a:endParaRPr sz="1050" b="0" i="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1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Silber</a:t>
                        </a:r>
                      </a:p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050" b="0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750 €</a:t>
                        </a:r>
                        <a:endParaRPr sz="1050" b="0" i="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1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Gold</a:t>
                        </a:r>
                      </a:p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050" b="0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1.000 €</a:t>
                        </a:r>
                        <a:endParaRPr sz="1050" b="0" i="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1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Platin</a:t>
                        </a:r>
                      </a:p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050" b="0" i="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&gt;1.500 €</a:t>
                        </a:r>
                        <a:r>
                          <a:rPr lang="de-DE" sz="1050" b="0" i="0" baseline="30000">
                            <a:solidFill>
                              <a:schemeClr val="dk1"/>
                            </a:solidFill>
                            <a:latin typeface="Open Sans Light" panose="020B0306030504020204" pitchFamily="34" charset="0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2</a:t>
                        </a:r>
                        <a:endParaRPr sz="1050" b="0" i="0" baseline="3000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557753">
                  <a:tc>
                    <a:txBody>
                      <a:bodyPr/>
                      <a:lstStyle/>
                      <a:p>
                        <a:pPr marL="0" marR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0" i="0" err="1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Social</a:t>
                        </a:r>
                        <a:r>
                          <a:rPr lang="de-DE" sz="1200" b="0" i="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 Media Werbung</a:t>
                        </a:r>
                        <a:r>
                          <a:rPr lang="de-DE" sz="1200" b="0" i="0" baseline="3000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3</a:t>
                        </a:r>
                        <a:endParaRPr sz="1200" b="0" i="0" baseline="30000"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2857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557753">
                  <a:tc>
                    <a:txBody>
                      <a:bodyPr/>
                      <a:lstStyle/>
                      <a:p>
                        <a:pPr marL="0" marR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0" i="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Homepage Werbung</a:t>
                        </a:r>
                        <a:r>
                          <a:rPr lang="de-DE" sz="1200" b="0" i="0" baseline="3000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3</a:t>
                        </a:r>
                        <a:endParaRPr sz="1200" b="0" i="0" baseline="30000"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2857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557753">
                  <a:tc>
                    <a:txBody>
                      <a:bodyPr/>
                      <a:lstStyle/>
                      <a:p>
                        <a:pPr marL="0" marR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0" i="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Tour-Trikot Werbung</a:t>
                        </a:r>
                        <a:endParaRPr sz="1200" b="0" i="0"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2857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557753">
                  <a:tc>
                    <a:txBody>
                      <a:bodyPr/>
                      <a:lstStyle/>
                      <a:p>
                        <a:pPr marL="0" marR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de-DE" sz="1200" b="0" i="0"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Offline Werbung während Events und der Tour</a:t>
                        </a:r>
                        <a:endParaRPr sz="1200" b="0" i="0"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28575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ts val="1400"/>
                          <a:buFont typeface="Arial"/>
                          <a:buNone/>
                        </a:pPr>
                        <a:r>
                          <a:rPr lang="de-DE" sz="1400" b="0" i="0">
                            <a:solidFill>
                              <a:schemeClr val="tx1"/>
                            </a:solidFill>
                            <a:latin typeface="Open Sans" panose="020B0606030504020204"/>
                            <a:ea typeface="Open Sans Light" panose="020B0306030504020204" pitchFamily="34" charset="0"/>
                            <a:cs typeface="Open Sans Light" panose="020B0306030504020204" pitchFamily="34" charset="0"/>
                            <a:sym typeface="Arial"/>
                          </a:rPr>
                          <a:t>✓</a:t>
                        </a:r>
                        <a:endParaRPr sz="1400" b="0" i="0">
                          <a:solidFill>
                            <a:schemeClr val="tx1"/>
                          </a:solidFill>
                          <a:latin typeface="Open Sans" panose="020B0606030504020204"/>
                          <a:ea typeface="Open Sans Light" panose="020B0306030504020204" pitchFamily="34" charset="0"/>
                          <a:cs typeface="Open Sans Light" panose="020B0306030504020204" pitchFamily="34" charset="0"/>
                          <a:sym typeface="Arial"/>
                        </a:endParaRPr>
                      </a:p>
                    </a:txBody>
                    <a:tcPr marL="91450" marR="91450" marT="45725" marB="457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2857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lt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3" name="Rechteck 2"/>
            <p:cNvSpPr/>
            <p:nvPr/>
          </p:nvSpPr>
          <p:spPr>
            <a:xfrm>
              <a:off x="3867519" y="3051947"/>
              <a:ext cx="3139771" cy="6257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20000"/>
                </a:lnSpc>
              </a:pPr>
              <a:endParaRPr lang="de-DE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endParaRPr>
            </a:p>
            <a:p>
              <a:pPr lvl="0">
                <a:lnSpc>
                  <a:spcPct val="120000"/>
                </a:lnSpc>
              </a:pPr>
              <a:r>
                <a:rPr lang="de-DE" sz="1200" b="1">
                  <a:solidFill>
                    <a:schemeClr val="dk1"/>
                  </a:solidFill>
                  <a:latin typeface="Open Sans" panose="020B0606030504020204"/>
                  <a:ea typeface="Open Sans" panose="020B0606030504020204" pitchFamily="34" charset="0"/>
                  <a:cs typeface="Open Sans" panose="020B0606030504020204" pitchFamily="34" charset="0"/>
                  <a:sym typeface="Arial"/>
                </a:rPr>
                <a:t>Leistungsangebot </a:t>
              </a:r>
              <a:r>
                <a:rPr lang="de-DE" sz="1200" b="1">
                  <a:solidFill>
                    <a:schemeClr val="dk1"/>
                  </a:solidFill>
                  <a:latin typeface="Open Sans" panose="020B0606030504020204"/>
                  <a:ea typeface="Open Sans Light" panose="020B0306030504020204" pitchFamily="34" charset="0"/>
                  <a:cs typeface="Open Sans Light" panose="020B0306030504020204" pitchFamily="34" charset="0"/>
                  <a:sym typeface="Arial"/>
                </a:rPr>
                <a:t>(Preise zzgl. MwSt.):</a:t>
              </a:r>
            </a:p>
          </p:txBody>
        </p:sp>
      </p:grpSp>
      <p:sp>
        <p:nvSpPr>
          <p:cNvPr id="27" name="Google Shape;46;p5">
            <a:extLst>
              <a:ext uri="{FF2B5EF4-FFF2-40B4-BE49-F238E27FC236}">
                <a16:creationId xmlns:a16="http://schemas.microsoft.com/office/drawing/2014/main" id="{13B0D46D-5622-48FC-A70D-1F917D8CC53F}"/>
              </a:ext>
            </a:extLst>
          </p:cNvPr>
          <p:cNvSpPr txBox="1">
            <a:spLocks/>
          </p:cNvSpPr>
          <p:nvPr/>
        </p:nvSpPr>
        <p:spPr>
          <a:xfrm>
            <a:off x="423144" y="1498474"/>
            <a:ext cx="1152000" cy="2800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vert="horz" wrap="square" lIns="36000" tIns="0" rIns="3600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400"/>
              <a:buFont typeface="Arial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pender</a:t>
            </a:r>
          </a:p>
        </p:txBody>
      </p:sp>
      <p:sp>
        <p:nvSpPr>
          <p:cNvPr id="26" name="Rechteck 25"/>
          <p:cNvSpPr/>
          <p:nvPr/>
        </p:nvSpPr>
        <p:spPr>
          <a:xfrm>
            <a:off x="3822916" y="5712504"/>
            <a:ext cx="78965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chemeClr val="dk1"/>
              </a:buClr>
              <a:buSzPts val="800"/>
            </a:pPr>
            <a:r>
              <a:rPr lang="de-DE" sz="800" baseline="300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1 </a:t>
            </a:r>
            <a:r>
              <a:rPr lang="de-DE" sz="8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Sachsponsoring kann in Form von Produkten (Sachspenden) oder in Form von Dienstleistungen (z.B. kostenlose Bereitstellung von Fahrzeugen oder Trikots) geschehen.    Alle Sponsoring-Aktivitäten unterliegen der gesetzlichen Umsatzsteuer.</a:t>
            </a:r>
          </a:p>
          <a:p>
            <a:pPr lvl="0">
              <a:buClr>
                <a:schemeClr val="dk1"/>
              </a:buClr>
              <a:buSzPts val="800"/>
            </a:pPr>
            <a:r>
              <a:rPr lang="de-DE" sz="800" baseline="300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2 </a:t>
            </a:r>
            <a:r>
              <a:rPr lang="de-DE" sz="8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Sprechen Sie uns bei größeren Spendensummen gerne persönlich für individuelle Leistungsangebote an.</a:t>
            </a:r>
          </a:p>
          <a:p>
            <a:pPr lvl="0">
              <a:buClr>
                <a:schemeClr val="dk1"/>
              </a:buClr>
              <a:buSzPts val="800"/>
            </a:pPr>
            <a:r>
              <a:rPr lang="de-DE" sz="800" baseline="300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3 </a:t>
            </a:r>
            <a:r>
              <a:rPr lang="de-DE" sz="8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Zur konkreten Darstellung auf der Homepage und zu detaillierten Informationen zur </a:t>
            </a:r>
            <a:r>
              <a:rPr lang="de-DE" sz="800" err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Social</a:t>
            </a:r>
            <a:r>
              <a:rPr lang="de-DE" sz="8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Media Werbung sprechen Sie uns gerne persönlich an. </a:t>
            </a:r>
            <a:endParaRPr lang="de-DE" sz="800" baseline="3000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DDC395A-644F-2F43-99DC-6469233E6EC1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D1A593E-ACF8-C046-98D3-F116B73E0D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9"/>
              <a:tile tx="0" ty="0" sx="100000" sy="100000" flip="none" algn="tl"/>
            </a:blipFill>
          </p:spPr>
        </p:pic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0D692776-9368-5548-BC49-279580293FCB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30" name="Grafik 29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2EBC202-3314-F942-9127-74EFA6CF2D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454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25438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  <a:buFont typeface="Avenir"/>
              <a:buNone/>
            </a:pPr>
            <a:r>
              <a:rPr lang="de-DE" sz="2400">
                <a:solidFill>
                  <a:srgbClr val="002060"/>
                </a:solidFill>
                <a:latin typeface="Open Sans" panose="020B0606030504020204"/>
                <a:ea typeface="Open Sans" panose="020B0606030504020204" pitchFamily="34" charset="0"/>
                <a:cs typeface="Arial" panose="020B0604020202020204" pitchFamily="34" charset="0"/>
                <a:sym typeface="Avenir"/>
              </a:rPr>
              <a:t>Spendenhistorie der letzten 10 Jahre</a:t>
            </a:r>
          </a:p>
        </p:txBody>
      </p:sp>
      <p:sp>
        <p:nvSpPr>
          <p:cNvPr id="128" name="Google Shape;51;p5">
            <a:extLst>
              <a:ext uri="{FF2B5EF4-FFF2-40B4-BE49-F238E27FC236}">
                <a16:creationId xmlns:a16="http://schemas.microsoft.com/office/drawing/2014/main" id="{67BD2BC0-EA1C-4A49-8009-D12A68E5E0F2}"/>
              </a:ext>
            </a:extLst>
          </p:cNvPr>
          <p:cNvSpPr txBox="1"/>
          <p:nvPr/>
        </p:nvSpPr>
        <p:spPr>
          <a:xfrm>
            <a:off x="620836" y="5285267"/>
            <a:ext cx="2537823" cy="786471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endParaRPr lang="de-DE" sz="140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30" name="Rectangle 128">
            <a:extLst>
              <a:ext uri="{FF2B5EF4-FFF2-40B4-BE49-F238E27FC236}">
                <a16:creationId xmlns:a16="http://schemas.microsoft.com/office/drawing/2014/main" id="{4867B87C-B2FE-9E45-ADFD-BB1D347E8687}"/>
              </a:ext>
            </a:extLst>
          </p:cNvPr>
          <p:cNvSpPr/>
          <p:nvPr/>
        </p:nvSpPr>
        <p:spPr>
          <a:xfrm>
            <a:off x="472496" y="1484313"/>
            <a:ext cx="11384542" cy="4850639"/>
          </a:xfrm>
          <a:prstGeom prst="rect">
            <a:avLst/>
          </a:prstGeom>
          <a:noFill/>
          <a:ln w="19050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22" name="Rechteck 21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6</a:t>
            </a:r>
          </a:p>
        </p:txBody>
      </p:sp>
      <p:sp>
        <p:nvSpPr>
          <p:cNvPr id="26" name="Rechteck 25"/>
          <p:cNvSpPr/>
          <p:nvPr/>
        </p:nvSpPr>
        <p:spPr>
          <a:xfrm>
            <a:off x="1023172" y="5883240"/>
            <a:ext cx="113845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chemeClr val="dk1"/>
              </a:buClr>
              <a:buSzPts val="800"/>
            </a:pPr>
            <a:r>
              <a:rPr lang="de-DE" sz="800" baseline="300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1 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Die Spendensummen setzt sich zusammen aus den vom Relay Ressort erzielten Spenden im Rahmen der Aktion „Relay – </a:t>
            </a:r>
            <a:r>
              <a:rPr lang="de-DE" sz="800" dirty="0" err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Cycling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</a:t>
            </a:r>
            <a:r>
              <a:rPr lang="de-DE" sz="800" dirty="0" err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for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</a:t>
            </a:r>
            <a:r>
              <a:rPr lang="de-DE" sz="800" dirty="0" err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Charity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“, sowie aus dem Spendenbeitrag des Culture &amp; </a:t>
            </a:r>
            <a:r>
              <a:rPr lang="de-DE" sz="800" dirty="0" err="1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Charity</a:t>
            </a:r>
            <a:r>
              <a:rPr lang="de-DE" sz="80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 Ressorts 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der ESB Reutlingen. </a:t>
            </a:r>
          </a:p>
          <a:p>
            <a:pPr lvl="0">
              <a:buClr>
                <a:schemeClr val="dk1"/>
              </a:buClr>
              <a:buSzPts val="800"/>
            </a:pPr>
            <a:r>
              <a:rPr lang="de-DE" sz="800" baseline="300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2 </a:t>
            </a:r>
            <a:r>
              <a:rPr lang="de-DE" sz="800" dirty="0">
                <a:solidFill>
                  <a:schemeClr val="dk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Die Spendensummen setzten sich zusammen aus Geldsponsoring, sowie Sachsponsoring in Marktwert umgerechnet (siehe vorherige Folie).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B16BB026-0F1A-407C-AE76-04406CF588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6466051"/>
              </p:ext>
            </p:extLst>
          </p:nvPr>
        </p:nvGraphicFramePr>
        <p:xfrm>
          <a:off x="1511804" y="1568977"/>
          <a:ext cx="9305925" cy="4211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34232A71-788F-457A-970F-3352AAC6AA8A}"/>
              </a:ext>
            </a:extLst>
          </p:cNvPr>
          <p:cNvSpPr txBox="1"/>
          <p:nvPr/>
        </p:nvSpPr>
        <p:spPr>
          <a:xfrm rot="5400000">
            <a:off x="8483485" y="3724966"/>
            <a:ext cx="3627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2060"/>
                </a:solidFill>
              </a:rPr>
              <a:t>Wir freuen uns auf Ihren Beitrag!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3DB9885-9F1A-4D47-98EE-CD0CD1A08059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49D734CB-A8DD-3546-8FD9-F6437B86EE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7"/>
              <a:tile tx="0" ty="0" sx="100000" sy="100000" flip="none" algn="tl"/>
            </a:blipFill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D6960F02-1816-9D46-970C-B853CC6724C9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16" name="Grafik 1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3874CAC-7730-F344-B6B2-BAA4299F03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2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6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</a:pPr>
            <a:r>
              <a:rPr lang="de-DE" sz="240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venir"/>
              </a:rPr>
              <a:t>Ihre Vorteile als Spender und Sponsor der Tour</a:t>
            </a:r>
          </a:p>
        </p:txBody>
      </p:sp>
      <p:sp>
        <p:nvSpPr>
          <p:cNvPr id="22" name="Google Shape;51;p5">
            <a:extLst>
              <a:ext uri="{FF2B5EF4-FFF2-40B4-BE49-F238E27FC236}">
                <a16:creationId xmlns:a16="http://schemas.microsoft.com/office/drawing/2014/main" id="{9A9BC728-F1DE-B647-AB5E-D8AAF3B4BA8F}"/>
              </a:ext>
            </a:extLst>
          </p:cNvPr>
          <p:cNvSpPr txBox="1"/>
          <p:nvPr/>
        </p:nvSpPr>
        <p:spPr>
          <a:xfrm>
            <a:off x="1778325" y="1487197"/>
            <a:ext cx="10078713" cy="14922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144000" rIns="91425" bIns="45700" anchor="t" anchorCtr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5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Sicherheit einer zweckgebundenen Spende</a:t>
            </a:r>
          </a:p>
          <a:p>
            <a:endParaRPr lang="de-DE" sz="1400" b="1" dirty="0">
              <a:solidFill>
                <a:schemeClr val="accent2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Arial"/>
            </a:endParaRPr>
          </a:p>
          <a:p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ie unterstützen </a:t>
            </a:r>
            <a:r>
              <a:rPr lang="de-DE" sz="14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bewährte</a:t>
            </a:r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de-DE" sz="14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wohltätige</a:t>
            </a:r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de-DE" sz="14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Projekte</a:t>
            </a:r>
            <a:r>
              <a:rPr lang="de-DE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, deren Gelder in verantwortungsbewusste Hände gelegt werden und dort Einsatz finden, wo sie benötigt werden.</a:t>
            </a:r>
          </a:p>
          <a:p>
            <a:pPr algn="ctr"/>
            <a:endParaRPr lang="de-DE" sz="1400" b="1" dirty="0">
              <a:solidFill>
                <a:schemeClr val="accent2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34962" y="1487197"/>
            <a:ext cx="1260475" cy="149222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>
              <a:latin typeface="Open Sans" panose="020B0606030504020204"/>
            </a:endParaRPr>
          </a:p>
        </p:txBody>
      </p:sp>
      <p:grpSp>
        <p:nvGrpSpPr>
          <p:cNvPr id="33" name="Group 466"/>
          <p:cNvGrpSpPr>
            <a:grpSpLocks noChangeAspect="1"/>
          </p:cNvGrpSpPr>
          <p:nvPr/>
        </p:nvGrpSpPr>
        <p:grpSpPr>
          <a:xfrm>
            <a:off x="662749" y="1987173"/>
            <a:ext cx="615132" cy="492271"/>
            <a:chOff x="4837112" y="3640138"/>
            <a:chExt cx="1358901" cy="996950"/>
          </a:xfrm>
          <a:solidFill>
            <a:schemeClr val="bg1"/>
          </a:solidFill>
        </p:grpSpPr>
        <p:sp>
          <p:nvSpPr>
            <p:cNvPr id="34" name="Freeform 48"/>
            <p:cNvSpPr>
              <a:spLocks/>
            </p:cNvSpPr>
            <p:nvPr/>
          </p:nvSpPr>
          <p:spPr bwMode="auto">
            <a:xfrm>
              <a:off x="4837112" y="3640138"/>
              <a:ext cx="1216025" cy="996950"/>
            </a:xfrm>
            <a:custGeom>
              <a:avLst/>
              <a:gdLst/>
              <a:ahLst/>
              <a:cxnLst>
                <a:cxn ang="0">
                  <a:pos x="330" y="135"/>
                </a:cxn>
                <a:cxn ang="0">
                  <a:pos x="445" y="219"/>
                </a:cxn>
                <a:cxn ang="0">
                  <a:pos x="470" y="222"/>
                </a:cxn>
                <a:cxn ang="0">
                  <a:pos x="432" y="264"/>
                </a:cxn>
                <a:cxn ang="0">
                  <a:pos x="398" y="250"/>
                </a:cxn>
                <a:cxn ang="0">
                  <a:pos x="394" y="255"/>
                </a:cxn>
                <a:cxn ang="0">
                  <a:pos x="426" y="273"/>
                </a:cxn>
                <a:cxn ang="0">
                  <a:pos x="386" y="309"/>
                </a:cxn>
                <a:cxn ang="0">
                  <a:pos x="360" y="295"/>
                </a:cxn>
                <a:cxn ang="0">
                  <a:pos x="355" y="299"/>
                </a:cxn>
                <a:cxn ang="0">
                  <a:pos x="383" y="317"/>
                </a:cxn>
                <a:cxn ang="0">
                  <a:pos x="340" y="351"/>
                </a:cxn>
                <a:cxn ang="0">
                  <a:pos x="324" y="341"/>
                </a:cxn>
                <a:cxn ang="0">
                  <a:pos x="318" y="346"/>
                </a:cxn>
                <a:cxn ang="0">
                  <a:pos x="334" y="361"/>
                </a:cxn>
                <a:cxn ang="0">
                  <a:pos x="293" y="383"/>
                </a:cxn>
                <a:cxn ang="0">
                  <a:pos x="281" y="374"/>
                </a:cxn>
                <a:cxn ang="0">
                  <a:pos x="291" y="355"/>
                </a:cxn>
                <a:cxn ang="0">
                  <a:pos x="276" y="323"/>
                </a:cxn>
                <a:cxn ang="0">
                  <a:pos x="245" y="329"/>
                </a:cxn>
                <a:cxn ang="0">
                  <a:pos x="248" y="308"/>
                </a:cxn>
                <a:cxn ang="0">
                  <a:pos x="232" y="291"/>
                </a:cxn>
                <a:cxn ang="0">
                  <a:pos x="206" y="294"/>
                </a:cxn>
                <a:cxn ang="0">
                  <a:pos x="208" y="274"/>
                </a:cxn>
                <a:cxn ang="0">
                  <a:pos x="192" y="257"/>
                </a:cxn>
                <a:cxn ang="0">
                  <a:pos x="166" y="260"/>
                </a:cxn>
                <a:cxn ang="0">
                  <a:pos x="169" y="239"/>
                </a:cxn>
                <a:cxn ang="0">
                  <a:pos x="153" y="221"/>
                </a:cxn>
                <a:cxn ang="0">
                  <a:pos x="139" y="221"/>
                </a:cxn>
                <a:cxn ang="0">
                  <a:pos x="125" y="226"/>
                </a:cxn>
                <a:cxn ang="0">
                  <a:pos x="104" y="243"/>
                </a:cxn>
                <a:cxn ang="0">
                  <a:pos x="103" y="242"/>
                </a:cxn>
                <a:cxn ang="0">
                  <a:pos x="0" y="92"/>
                </a:cxn>
                <a:cxn ang="0">
                  <a:pos x="82" y="17"/>
                </a:cxn>
                <a:cxn ang="0">
                  <a:pos x="157" y="24"/>
                </a:cxn>
                <a:cxn ang="0">
                  <a:pos x="266" y="22"/>
                </a:cxn>
                <a:cxn ang="0">
                  <a:pos x="137" y="93"/>
                </a:cxn>
                <a:cxn ang="0">
                  <a:pos x="130" y="128"/>
                </a:cxn>
                <a:cxn ang="0">
                  <a:pos x="169" y="161"/>
                </a:cxn>
                <a:cxn ang="0">
                  <a:pos x="196" y="150"/>
                </a:cxn>
                <a:cxn ang="0">
                  <a:pos x="216" y="129"/>
                </a:cxn>
                <a:cxn ang="0">
                  <a:pos x="233" y="125"/>
                </a:cxn>
                <a:cxn ang="0">
                  <a:pos x="330" y="135"/>
                </a:cxn>
              </a:cxnLst>
              <a:rect l="0" t="0" r="r" b="b"/>
              <a:pathLst>
                <a:path w="474" h="389">
                  <a:moveTo>
                    <a:pt x="330" y="135"/>
                  </a:moveTo>
                  <a:cubicBezTo>
                    <a:pt x="365" y="165"/>
                    <a:pt x="404" y="193"/>
                    <a:pt x="445" y="219"/>
                  </a:cubicBezTo>
                  <a:cubicBezTo>
                    <a:pt x="453" y="223"/>
                    <a:pt x="460" y="228"/>
                    <a:pt x="470" y="222"/>
                  </a:cubicBezTo>
                  <a:cubicBezTo>
                    <a:pt x="474" y="244"/>
                    <a:pt x="449" y="266"/>
                    <a:pt x="432" y="264"/>
                  </a:cubicBezTo>
                  <a:cubicBezTo>
                    <a:pt x="420" y="263"/>
                    <a:pt x="406" y="259"/>
                    <a:pt x="398" y="250"/>
                  </a:cubicBezTo>
                  <a:cubicBezTo>
                    <a:pt x="391" y="242"/>
                    <a:pt x="387" y="245"/>
                    <a:pt x="394" y="255"/>
                  </a:cubicBezTo>
                  <a:cubicBezTo>
                    <a:pt x="401" y="265"/>
                    <a:pt x="415" y="267"/>
                    <a:pt x="426" y="273"/>
                  </a:cubicBezTo>
                  <a:cubicBezTo>
                    <a:pt x="445" y="286"/>
                    <a:pt x="400" y="313"/>
                    <a:pt x="386" y="309"/>
                  </a:cubicBezTo>
                  <a:cubicBezTo>
                    <a:pt x="373" y="306"/>
                    <a:pt x="364" y="298"/>
                    <a:pt x="360" y="295"/>
                  </a:cubicBezTo>
                  <a:cubicBezTo>
                    <a:pt x="350" y="286"/>
                    <a:pt x="347" y="290"/>
                    <a:pt x="355" y="299"/>
                  </a:cubicBezTo>
                  <a:cubicBezTo>
                    <a:pt x="363" y="308"/>
                    <a:pt x="372" y="313"/>
                    <a:pt x="383" y="317"/>
                  </a:cubicBezTo>
                  <a:cubicBezTo>
                    <a:pt x="401" y="323"/>
                    <a:pt x="362" y="358"/>
                    <a:pt x="340" y="351"/>
                  </a:cubicBezTo>
                  <a:cubicBezTo>
                    <a:pt x="336" y="350"/>
                    <a:pt x="328" y="346"/>
                    <a:pt x="324" y="341"/>
                  </a:cubicBezTo>
                  <a:cubicBezTo>
                    <a:pt x="312" y="328"/>
                    <a:pt x="307" y="331"/>
                    <a:pt x="318" y="346"/>
                  </a:cubicBezTo>
                  <a:cubicBezTo>
                    <a:pt x="321" y="350"/>
                    <a:pt x="330" y="357"/>
                    <a:pt x="334" y="361"/>
                  </a:cubicBezTo>
                  <a:cubicBezTo>
                    <a:pt x="342" y="368"/>
                    <a:pt x="315" y="389"/>
                    <a:pt x="293" y="383"/>
                  </a:cubicBezTo>
                  <a:cubicBezTo>
                    <a:pt x="288" y="381"/>
                    <a:pt x="284" y="378"/>
                    <a:pt x="281" y="374"/>
                  </a:cubicBezTo>
                  <a:cubicBezTo>
                    <a:pt x="285" y="368"/>
                    <a:pt x="289" y="362"/>
                    <a:pt x="291" y="355"/>
                  </a:cubicBezTo>
                  <a:cubicBezTo>
                    <a:pt x="294" y="341"/>
                    <a:pt x="290" y="327"/>
                    <a:pt x="276" y="323"/>
                  </a:cubicBezTo>
                  <a:cubicBezTo>
                    <a:pt x="265" y="320"/>
                    <a:pt x="255" y="324"/>
                    <a:pt x="245" y="329"/>
                  </a:cubicBezTo>
                  <a:cubicBezTo>
                    <a:pt x="247" y="322"/>
                    <a:pt x="249" y="316"/>
                    <a:pt x="248" y="308"/>
                  </a:cubicBezTo>
                  <a:cubicBezTo>
                    <a:pt x="246" y="300"/>
                    <a:pt x="240" y="293"/>
                    <a:pt x="232" y="291"/>
                  </a:cubicBezTo>
                  <a:cubicBezTo>
                    <a:pt x="223" y="288"/>
                    <a:pt x="214" y="291"/>
                    <a:pt x="206" y="294"/>
                  </a:cubicBezTo>
                  <a:cubicBezTo>
                    <a:pt x="208" y="288"/>
                    <a:pt x="209" y="281"/>
                    <a:pt x="208" y="274"/>
                  </a:cubicBezTo>
                  <a:cubicBezTo>
                    <a:pt x="206" y="266"/>
                    <a:pt x="200" y="259"/>
                    <a:pt x="192" y="257"/>
                  </a:cubicBezTo>
                  <a:cubicBezTo>
                    <a:pt x="183" y="254"/>
                    <a:pt x="174" y="257"/>
                    <a:pt x="166" y="260"/>
                  </a:cubicBezTo>
                  <a:cubicBezTo>
                    <a:pt x="168" y="253"/>
                    <a:pt x="170" y="247"/>
                    <a:pt x="169" y="239"/>
                  </a:cubicBezTo>
                  <a:cubicBezTo>
                    <a:pt x="167" y="230"/>
                    <a:pt x="161" y="224"/>
                    <a:pt x="153" y="221"/>
                  </a:cubicBezTo>
                  <a:cubicBezTo>
                    <a:pt x="149" y="220"/>
                    <a:pt x="144" y="220"/>
                    <a:pt x="139" y="221"/>
                  </a:cubicBezTo>
                  <a:cubicBezTo>
                    <a:pt x="134" y="222"/>
                    <a:pt x="129" y="223"/>
                    <a:pt x="125" y="226"/>
                  </a:cubicBezTo>
                  <a:cubicBezTo>
                    <a:pt x="116" y="230"/>
                    <a:pt x="110" y="236"/>
                    <a:pt x="104" y="243"/>
                  </a:cubicBezTo>
                  <a:cubicBezTo>
                    <a:pt x="103" y="242"/>
                    <a:pt x="103" y="242"/>
                    <a:pt x="103" y="242"/>
                  </a:cubicBezTo>
                  <a:cubicBezTo>
                    <a:pt x="62" y="204"/>
                    <a:pt x="17" y="145"/>
                    <a:pt x="0" y="92"/>
                  </a:cubicBezTo>
                  <a:cubicBezTo>
                    <a:pt x="27" y="52"/>
                    <a:pt x="51" y="27"/>
                    <a:pt x="82" y="17"/>
                  </a:cubicBezTo>
                  <a:cubicBezTo>
                    <a:pt x="96" y="23"/>
                    <a:pt x="107" y="43"/>
                    <a:pt x="157" y="24"/>
                  </a:cubicBezTo>
                  <a:cubicBezTo>
                    <a:pt x="173" y="21"/>
                    <a:pt x="196" y="0"/>
                    <a:pt x="266" y="22"/>
                  </a:cubicBezTo>
                  <a:cubicBezTo>
                    <a:pt x="219" y="21"/>
                    <a:pt x="160" y="50"/>
                    <a:pt x="137" y="93"/>
                  </a:cubicBezTo>
                  <a:cubicBezTo>
                    <a:pt x="130" y="106"/>
                    <a:pt x="128" y="118"/>
                    <a:pt x="130" y="128"/>
                  </a:cubicBezTo>
                  <a:cubicBezTo>
                    <a:pt x="132" y="148"/>
                    <a:pt x="148" y="163"/>
                    <a:pt x="169" y="161"/>
                  </a:cubicBezTo>
                  <a:cubicBezTo>
                    <a:pt x="178" y="161"/>
                    <a:pt x="187" y="157"/>
                    <a:pt x="196" y="150"/>
                  </a:cubicBezTo>
                  <a:cubicBezTo>
                    <a:pt x="203" y="145"/>
                    <a:pt x="211" y="138"/>
                    <a:pt x="216" y="129"/>
                  </a:cubicBezTo>
                  <a:cubicBezTo>
                    <a:pt x="220" y="122"/>
                    <a:pt x="226" y="123"/>
                    <a:pt x="233" y="125"/>
                  </a:cubicBezTo>
                  <a:cubicBezTo>
                    <a:pt x="262" y="137"/>
                    <a:pt x="294" y="141"/>
                    <a:pt x="330" y="1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35" name="Freeform 49"/>
            <p:cNvSpPr>
              <a:spLocks noEditPoints="1"/>
            </p:cNvSpPr>
            <p:nvPr/>
          </p:nvSpPr>
          <p:spPr bwMode="auto">
            <a:xfrm>
              <a:off x="5099050" y="3675063"/>
              <a:ext cx="1096963" cy="960438"/>
            </a:xfrm>
            <a:custGeom>
              <a:avLst/>
              <a:gdLst/>
              <a:ahLst/>
              <a:cxnLst>
                <a:cxn ang="0">
                  <a:pos x="108" y="107"/>
                </a:cxn>
                <a:cxn ang="0">
                  <a:pos x="156" y="15"/>
                </a:cxn>
                <a:cxn ang="0">
                  <a:pos x="428" y="88"/>
                </a:cxn>
                <a:cxn ang="0">
                  <a:pos x="239" y="117"/>
                </a:cxn>
                <a:cxn ang="0">
                  <a:pos x="56" y="220"/>
                </a:cxn>
                <a:cxn ang="0">
                  <a:pos x="59" y="227"/>
                </a:cxn>
                <a:cxn ang="0">
                  <a:pos x="45" y="258"/>
                </a:cxn>
                <a:cxn ang="0">
                  <a:pos x="44" y="259"/>
                </a:cxn>
                <a:cxn ang="0">
                  <a:pos x="44" y="260"/>
                </a:cxn>
                <a:cxn ang="0">
                  <a:pos x="11" y="271"/>
                </a:cxn>
                <a:cxn ang="0">
                  <a:pos x="4" y="267"/>
                </a:cxn>
                <a:cxn ang="0">
                  <a:pos x="6" y="238"/>
                </a:cxn>
                <a:cxn ang="0">
                  <a:pos x="14" y="228"/>
                </a:cxn>
                <a:cxn ang="0">
                  <a:pos x="15" y="227"/>
                </a:cxn>
                <a:cxn ang="0">
                  <a:pos x="15" y="227"/>
                </a:cxn>
                <a:cxn ang="0">
                  <a:pos x="38" y="215"/>
                </a:cxn>
                <a:cxn ang="0">
                  <a:pos x="55" y="218"/>
                </a:cxn>
                <a:cxn ang="0">
                  <a:pos x="95" y="255"/>
                </a:cxn>
                <a:cxn ang="0">
                  <a:pos x="98" y="263"/>
                </a:cxn>
                <a:cxn ang="0">
                  <a:pos x="85" y="294"/>
                </a:cxn>
                <a:cxn ang="0">
                  <a:pos x="83" y="295"/>
                </a:cxn>
                <a:cxn ang="0">
                  <a:pos x="83" y="295"/>
                </a:cxn>
                <a:cxn ang="0">
                  <a:pos x="83" y="295"/>
                </a:cxn>
                <a:cxn ang="0">
                  <a:pos x="60" y="307"/>
                </a:cxn>
                <a:cxn ang="0">
                  <a:pos x="44" y="304"/>
                </a:cxn>
                <a:cxn ang="0">
                  <a:pos x="40" y="285"/>
                </a:cxn>
                <a:cxn ang="0">
                  <a:pos x="53" y="264"/>
                </a:cxn>
                <a:cxn ang="0">
                  <a:pos x="54" y="263"/>
                </a:cxn>
                <a:cxn ang="0">
                  <a:pos x="54" y="263"/>
                </a:cxn>
                <a:cxn ang="0">
                  <a:pos x="65" y="255"/>
                </a:cxn>
                <a:cxn ang="0">
                  <a:pos x="93" y="254"/>
                </a:cxn>
                <a:cxn ang="0">
                  <a:pos x="95" y="255"/>
                </a:cxn>
                <a:cxn ang="0">
                  <a:pos x="133" y="288"/>
                </a:cxn>
                <a:cxn ang="0">
                  <a:pos x="137" y="306"/>
                </a:cxn>
                <a:cxn ang="0">
                  <a:pos x="124" y="328"/>
                </a:cxn>
                <a:cxn ang="0">
                  <a:pos x="123" y="329"/>
                </a:cxn>
                <a:cxn ang="0">
                  <a:pos x="123" y="329"/>
                </a:cxn>
                <a:cxn ang="0">
                  <a:pos x="112" y="337"/>
                </a:cxn>
                <a:cxn ang="0">
                  <a:pos x="83" y="337"/>
                </a:cxn>
                <a:cxn ang="0">
                  <a:pos x="85" y="307"/>
                </a:cxn>
                <a:cxn ang="0">
                  <a:pos x="93" y="297"/>
                </a:cxn>
                <a:cxn ang="0">
                  <a:pos x="94" y="297"/>
                </a:cxn>
                <a:cxn ang="0">
                  <a:pos x="94" y="297"/>
                </a:cxn>
                <a:cxn ang="0">
                  <a:pos x="105" y="289"/>
                </a:cxn>
                <a:cxn ang="0">
                  <a:pos x="171" y="317"/>
                </a:cxn>
                <a:cxn ang="0">
                  <a:pos x="181" y="339"/>
                </a:cxn>
                <a:cxn ang="0">
                  <a:pos x="168" y="360"/>
                </a:cxn>
                <a:cxn ang="0">
                  <a:pos x="167" y="361"/>
                </a:cxn>
                <a:cxn ang="0">
                  <a:pos x="167" y="361"/>
                </a:cxn>
                <a:cxn ang="0">
                  <a:pos x="167" y="361"/>
                </a:cxn>
                <a:cxn ang="0">
                  <a:pos x="134" y="373"/>
                </a:cxn>
                <a:cxn ang="0">
                  <a:pos x="126" y="369"/>
                </a:cxn>
                <a:cxn ang="0">
                  <a:pos x="129" y="340"/>
                </a:cxn>
                <a:cxn ang="0">
                  <a:pos x="138" y="329"/>
                </a:cxn>
                <a:cxn ang="0">
                  <a:pos x="161" y="317"/>
                </a:cxn>
              </a:cxnLst>
              <a:rect l="0" t="0" r="r" b="b"/>
              <a:pathLst>
                <a:path w="428" h="374">
                  <a:moveTo>
                    <a:pt x="267" y="88"/>
                  </a:moveTo>
                  <a:cubicBezTo>
                    <a:pt x="227" y="123"/>
                    <a:pt x="173" y="120"/>
                    <a:pt x="130" y="101"/>
                  </a:cubicBezTo>
                  <a:cubicBezTo>
                    <a:pt x="121" y="97"/>
                    <a:pt x="114" y="99"/>
                    <a:pt x="108" y="107"/>
                  </a:cubicBezTo>
                  <a:cubicBezTo>
                    <a:pt x="99" y="121"/>
                    <a:pt x="81" y="137"/>
                    <a:pt x="65" y="137"/>
                  </a:cubicBezTo>
                  <a:cubicBezTo>
                    <a:pt x="42" y="137"/>
                    <a:pt x="30" y="109"/>
                    <a:pt x="45" y="82"/>
                  </a:cubicBezTo>
                  <a:cubicBezTo>
                    <a:pt x="66" y="44"/>
                    <a:pt x="116" y="20"/>
                    <a:pt x="156" y="15"/>
                  </a:cubicBezTo>
                  <a:cubicBezTo>
                    <a:pt x="186" y="12"/>
                    <a:pt x="217" y="16"/>
                    <a:pt x="246" y="26"/>
                  </a:cubicBezTo>
                  <a:cubicBezTo>
                    <a:pt x="273" y="34"/>
                    <a:pt x="314" y="15"/>
                    <a:pt x="344" y="0"/>
                  </a:cubicBezTo>
                  <a:cubicBezTo>
                    <a:pt x="386" y="14"/>
                    <a:pt x="418" y="49"/>
                    <a:pt x="428" y="88"/>
                  </a:cubicBezTo>
                  <a:cubicBezTo>
                    <a:pt x="384" y="103"/>
                    <a:pt x="379" y="168"/>
                    <a:pt x="362" y="194"/>
                  </a:cubicBezTo>
                  <a:cubicBezTo>
                    <a:pt x="359" y="199"/>
                    <a:pt x="355" y="201"/>
                    <a:pt x="349" y="197"/>
                  </a:cubicBezTo>
                  <a:cubicBezTo>
                    <a:pt x="311" y="172"/>
                    <a:pt x="269" y="143"/>
                    <a:pt x="239" y="117"/>
                  </a:cubicBezTo>
                  <a:cubicBezTo>
                    <a:pt x="253" y="112"/>
                    <a:pt x="262" y="105"/>
                    <a:pt x="274" y="94"/>
                  </a:cubicBezTo>
                  <a:cubicBezTo>
                    <a:pt x="279" y="89"/>
                    <a:pt x="274" y="82"/>
                    <a:pt x="267" y="88"/>
                  </a:cubicBezTo>
                  <a:close/>
                  <a:moveTo>
                    <a:pt x="56" y="220"/>
                  </a:moveTo>
                  <a:cubicBezTo>
                    <a:pt x="56" y="220"/>
                    <a:pt x="56" y="220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8" y="222"/>
                    <a:pt x="59" y="224"/>
                    <a:pt x="59" y="227"/>
                  </a:cubicBezTo>
                  <a:cubicBezTo>
                    <a:pt x="59" y="230"/>
                    <a:pt x="59" y="233"/>
                    <a:pt x="58" y="237"/>
                  </a:cubicBezTo>
                  <a:cubicBezTo>
                    <a:pt x="57" y="241"/>
                    <a:pt x="56" y="245"/>
                    <a:pt x="53" y="248"/>
                  </a:cubicBezTo>
                  <a:cubicBezTo>
                    <a:pt x="51" y="252"/>
                    <a:pt x="48" y="255"/>
                    <a:pt x="45" y="258"/>
                  </a:cubicBezTo>
                  <a:cubicBezTo>
                    <a:pt x="45" y="258"/>
                    <a:pt x="45" y="258"/>
                    <a:pt x="45" y="258"/>
                  </a:cubicBezTo>
                  <a:cubicBezTo>
                    <a:pt x="45" y="259"/>
                    <a:pt x="45" y="259"/>
                    <a:pt x="45" y="259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44" y="260"/>
                    <a:pt x="44" y="260"/>
                    <a:pt x="44" y="260"/>
                  </a:cubicBezTo>
                  <a:cubicBezTo>
                    <a:pt x="44" y="260"/>
                    <a:pt x="44" y="260"/>
                    <a:pt x="44" y="260"/>
                  </a:cubicBezTo>
                  <a:cubicBezTo>
                    <a:pt x="40" y="263"/>
                    <a:pt x="36" y="265"/>
                    <a:pt x="33" y="267"/>
                  </a:cubicBezTo>
                  <a:cubicBezTo>
                    <a:pt x="29" y="269"/>
                    <a:pt x="25" y="271"/>
                    <a:pt x="21" y="271"/>
                  </a:cubicBezTo>
                  <a:cubicBezTo>
                    <a:pt x="17" y="272"/>
                    <a:pt x="14" y="272"/>
                    <a:pt x="11" y="271"/>
                  </a:cubicBezTo>
                  <a:cubicBezTo>
                    <a:pt x="8" y="270"/>
                    <a:pt x="6" y="269"/>
                    <a:pt x="4" y="267"/>
                  </a:cubicBezTo>
                  <a:cubicBezTo>
                    <a:pt x="4" y="267"/>
                    <a:pt x="4" y="267"/>
                    <a:pt x="4" y="267"/>
                  </a:cubicBezTo>
                  <a:cubicBezTo>
                    <a:pt x="4" y="267"/>
                    <a:pt x="4" y="267"/>
                    <a:pt x="4" y="267"/>
                  </a:cubicBezTo>
                  <a:cubicBezTo>
                    <a:pt x="2" y="265"/>
                    <a:pt x="1" y="262"/>
                    <a:pt x="0" y="259"/>
                  </a:cubicBezTo>
                  <a:cubicBezTo>
                    <a:pt x="0" y="256"/>
                    <a:pt x="0" y="253"/>
                    <a:pt x="1" y="249"/>
                  </a:cubicBezTo>
                  <a:cubicBezTo>
                    <a:pt x="2" y="246"/>
                    <a:pt x="3" y="242"/>
                    <a:pt x="6" y="238"/>
                  </a:cubicBezTo>
                  <a:cubicBezTo>
                    <a:pt x="8" y="234"/>
                    <a:pt x="11" y="231"/>
                    <a:pt x="14" y="228"/>
                  </a:cubicBezTo>
                  <a:cubicBezTo>
                    <a:pt x="14" y="228"/>
                    <a:pt x="14" y="228"/>
                    <a:pt x="14" y="228"/>
                  </a:cubicBezTo>
                  <a:cubicBezTo>
                    <a:pt x="14" y="228"/>
                    <a:pt x="14" y="228"/>
                    <a:pt x="14" y="228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5" y="227"/>
                    <a:pt x="15" y="227"/>
                    <a:pt x="15" y="227"/>
                  </a:cubicBezTo>
                  <a:cubicBezTo>
                    <a:pt x="19" y="224"/>
                    <a:pt x="22" y="221"/>
                    <a:pt x="26" y="219"/>
                  </a:cubicBezTo>
                  <a:cubicBezTo>
                    <a:pt x="30" y="217"/>
                    <a:pt x="34" y="216"/>
                    <a:pt x="38" y="215"/>
                  </a:cubicBezTo>
                  <a:cubicBezTo>
                    <a:pt x="42" y="214"/>
                    <a:pt x="45" y="214"/>
                    <a:pt x="48" y="215"/>
                  </a:cubicBezTo>
                  <a:cubicBezTo>
                    <a:pt x="50" y="216"/>
                    <a:pt x="53" y="217"/>
                    <a:pt x="54" y="218"/>
                  </a:cubicBezTo>
                  <a:cubicBezTo>
                    <a:pt x="55" y="218"/>
                    <a:pt x="55" y="218"/>
                    <a:pt x="55" y="218"/>
                  </a:cubicBezTo>
                  <a:cubicBezTo>
                    <a:pt x="56" y="219"/>
                    <a:pt x="56" y="219"/>
                    <a:pt x="56" y="219"/>
                  </a:cubicBezTo>
                  <a:cubicBezTo>
                    <a:pt x="56" y="220"/>
                    <a:pt x="56" y="220"/>
                    <a:pt x="56" y="220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5"/>
                    <a:pt x="95" y="255"/>
                    <a:pt x="95" y="255"/>
                  </a:cubicBezTo>
                  <a:cubicBezTo>
                    <a:pt x="97" y="257"/>
                    <a:pt x="98" y="260"/>
                    <a:pt x="98" y="263"/>
                  </a:cubicBezTo>
                  <a:cubicBezTo>
                    <a:pt x="99" y="266"/>
                    <a:pt x="98" y="269"/>
                    <a:pt x="98" y="272"/>
                  </a:cubicBezTo>
                  <a:cubicBezTo>
                    <a:pt x="97" y="276"/>
                    <a:pt x="95" y="280"/>
                    <a:pt x="92" y="284"/>
                  </a:cubicBezTo>
                  <a:cubicBezTo>
                    <a:pt x="90" y="287"/>
                    <a:pt x="88" y="291"/>
                    <a:pt x="85" y="294"/>
                  </a:cubicBezTo>
                  <a:cubicBezTo>
                    <a:pt x="85" y="294"/>
                    <a:pt x="85" y="294"/>
                    <a:pt x="85" y="294"/>
                  </a:cubicBezTo>
                  <a:cubicBezTo>
                    <a:pt x="84" y="295"/>
                    <a:pt x="84" y="295"/>
                    <a:pt x="84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3" y="295"/>
                    <a:pt x="83" y="295"/>
                    <a:pt x="83" y="295"/>
                  </a:cubicBezTo>
                  <a:cubicBezTo>
                    <a:pt x="80" y="298"/>
                    <a:pt x="76" y="301"/>
                    <a:pt x="72" y="303"/>
                  </a:cubicBezTo>
                  <a:cubicBezTo>
                    <a:pt x="68" y="305"/>
                    <a:pt x="64" y="306"/>
                    <a:pt x="60" y="307"/>
                  </a:cubicBezTo>
                  <a:cubicBezTo>
                    <a:pt x="57" y="308"/>
                    <a:pt x="53" y="308"/>
                    <a:pt x="50" y="307"/>
                  </a:cubicBezTo>
                  <a:cubicBezTo>
                    <a:pt x="48" y="306"/>
                    <a:pt x="46" y="305"/>
                    <a:pt x="44" y="304"/>
                  </a:cubicBezTo>
                  <a:cubicBezTo>
                    <a:pt x="44" y="304"/>
                    <a:pt x="44" y="304"/>
                    <a:pt x="44" y="304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41" y="300"/>
                    <a:pt x="40" y="298"/>
                    <a:pt x="39" y="295"/>
                  </a:cubicBezTo>
                  <a:cubicBezTo>
                    <a:pt x="39" y="292"/>
                    <a:pt x="39" y="289"/>
                    <a:pt x="40" y="285"/>
                  </a:cubicBezTo>
                  <a:cubicBezTo>
                    <a:pt x="41" y="281"/>
                    <a:pt x="43" y="277"/>
                    <a:pt x="45" y="274"/>
                  </a:cubicBezTo>
                  <a:cubicBezTo>
                    <a:pt x="47" y="270"/>
                    <a:pt x="50" y="267"/>
                    <a:pt x="53" y="264"/>
                  </a:cubicBezTo>
                  <a:cubicBezTo>
                    <a:pt x="53" y="264"/>
                    <a:pt x="53" y="264"/>
                    <a:pt x="53" y="264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58" y="259"/>
                    <a:pt x="62" y="257"/>
                    <a:pt x="65" y="255"/>
                  </a:cubicBezTo>
                  <a:cubicBezTo>
                    <a:pt x="65" y="255"/>
                    <a:pt x="65" y="255"/>
                    <a:pt x="65" y="255"/>
                  </a:cubicBezTo>
                  <a:cubicBezTo>
                    <a:pt x="69" y="253"/>
                    <a:pt x="74" y="251"/>
                    <a:pt x="77" y="251"/>
                  </a:cubicBezTo>
                  <a:cubicBezTo>
                    <a:pt x="81" y="250"/>
                    <a:pt x="84" y="250"/>
                    <a:pt x="87" y="251"/>
                  </a:cubicBezTo>
                  <a:cubicBezTo>
                    <a:pt x="89" y="251"/>
                    <a:pt x="91" y="252"/>
                    <a:pt x="93" y="254"/>
                  </a:cubicBezTo>
                  <a:cubicBezTo>
                    <a:pt x="93" y="253"/>
                    <a:pt x="93" y="253"/>
                    <a:pt x="93" y="253"/>
                  </a:cubicBezTo>
                  <a:cubicBezTo>
                    <a:pt x="95" y="255"/>
                    <a:pt x="95" y="255"/>
                    <a:pt x="95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127" y="285"/>
                  </a:moveTo>
                  <a:cubicBezTo>
                    <a:pt x="129" y="285"/>
                    <a:pt x="132" y="286"/>
                    <a:pt x="133" y="288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34" y="289"/>
                    <a:pt x="134" y="289"/>
                    <a:pt x="134" y="289"/>
                  </a:cubicBezTo>
                  <a:cubicBezTo>
                    <a:pt x="136" y="291"/>
                    <a:pt x="137" y="294"/>
                    <a:pt x="138" y="297"/>
                  </a:cubicBezTo>
                  <a:cubicBezTo>
                    <a:pt x="138" y="300"/>
                    <a:pt x="138" y="303"/>
                    <a:pt x="137" y="306"/>
                  </a:cubicBezTo>
                  <a:cubicBezTo>
                    <a:pt x="136" y="310"/>
                    <a:pt x="134" y="314"/>
                    <a:pt x="132" y="318"/>
                  </a:cubicBezTo>
                  <a:cubicBezTo>
                    <a:pt x="130" y="321"/>
                    <a:pt x="127" y="325"/>
                    <a:pt x="124" y="328"/>
                  </a:cubicBezTo>
                  <a:cubicBezTo>
                    <a:pt x="124" y="328"/>
                    <a:pt x="124" y="328"/>
                    <a:pt x="124" y="328"/>
                  </a:cubicBezTo>
                  <a:cubicBezTo>
                    <a:pt x="123" y="328"/>
                    <a:pt x="123" y="328"/>
                    <a:pt x="123" y="328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23" y="329"/>
                    <a:pt x="123" y="329"/>
                    <a:pt x="123" y="329"/>
                  </a:cubicBezTo>
                  <a:cubicBezTo>
                    <a:pt x="119" y="332"/>
                    <a:pt x="115" y="335"/>
                    <a:pt x="112" y="337"/>
                  </a:cubicBezTo>
                  <a:cubicBezTo>
                    <a:pt x="108" y="339"/>
                    <a:pt x="104" y="340"/>
                    <a:pt x="100" y="341"/>
                  </a:cubicBezTo>
                  <a:cubicBezTo>
                    <a:pt x="96" y="342"/>
                    <a:pt x="93" y="341"/>
                    <a:pt x="90" y="341"/>
                  </a:cubicBezTo>
                  <a:cubicBezTo>
                    <a:pt x="87" y="340"/>
                    <a:pt x="84" y="339"/>
                    <a:pt x="83" y="337"/>
                  </a:cubicBezTo>
                  <a:cubicBezTo>
                    <a:pt x="81" y="334"/>
                    <a:pt x="79" y="332"/>
                    <a:pt x="79" y="329"/>
                  </a:cubicBezTo>
                  <a:cubicBezTo>
                    <a:pt x="78" y="326"/>
                    <a:pt x="79" y="323"/>
                    <a:pt x="80" y="319"/>
                  </a:cubicBezTo>
                  <a:cubicBezTo>
                    <a:pt x="80" y="315"/>
                    <a:pt x="82" y="311"/>
                    <a:pt x="85" y="307"/>
                  </a:cubicBezTo>
                  <a:cubicBezTo>
                    <a:pt x="87" y="304"/>
                    <a:pt x="89" y="301"/>
                    <a:pt x="92" y="298"/>
                  </a:cubicBezTo>
                  <a:cubicBezTo>
                    <a:pt x="92" y="298"/>
                    <a:pt x="92" y="298"/>
                    <a:pt x="92" y="298"/>
                  </a:cubicBezTo>
                  <a:cubicBezTo>
                    <a:pt x="93" y="297"/>
                    <a:pt x="93" y="297"/>
                    <a:pt x="93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4" y="297"/>
                    <a:pt x="94" y="297"/>
                    <a:pt x="94" y="297"/>
                  </a:cubicBezTo>
                  <a:cubicBezTo>
                    <a:pt x="97" y="293"/>
                    <a:pt x="101" y="291"/>
                    <a:pt x="105" y="289"/>
                  </a:cubicBezTo>
                  <a:cubicBezTo>
                    <a:pt x="109" y="287"/>
                    <a:pt x="113" y="285"/>
                    <a:pt x="117" y="285"/>
                  </a:cubicBezTo>
                  <a:cubicBezTo>
                    <a:pt x="121" y="284"/>
                    <a:pt x="124" y="284"/>
                    <a:pt x="127" y="285"/>
                  </a:cubicBezTo>
                  <a:close/>
                  <a:moveTo>
                    <a:pt x="171" y="317"/>
                  </a:moveTo>
                  <a:cubicBezTo>
                    <a:pt x="174" y="318"/>
                    <a:pt x="176" y="319"/>
                    <a:pt x="178" y="321"/>
                  </a:cubicBezTo>
                  <a:cubicBezTo>
                    <a:pt x="180" y="323"/>
                    <a:pt x="181" y="326"/>
                    <a:pt x="182" y="329"/>
                  </a:cubicBezTo>
                  <a:cubicBezTo>
                    <a:pt x="182" y="332"/>
                    <a:pt x="182" y="335"/>
                    <a:pt x="181" y="339"/>
                  </a:cubicBezTo>
                  <a:cubicBezTo>
                    <a:pt x="180" y="342"/>
                    <a:pt x="178" y="346"/>
                    <a:pt x="176" y="350"/>
                  </a:cubicBezTo>
                  <a:cubicBezTo>
                    <a:pt x="174" y="354"/>
                    <a:pt x="171" y="357"/>
                    <a:pt x="168" y="360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7" y="361"/>
                    <a:pt x="167" y="361"/>
                    <a:pt x="167" y="361"/>
                  </a:cubicBezTo>
                  <a:cubicBezTo>
                    <a:pt x="163" y="364"/>
                    <a:pt x="159" y="367"/>
                    <a:pt x="156" y="369"/>
                  </a:cubicBezTo>
                  <a:cubicBezTo>
                    <a:pt x="152" y="371"/>
                    <a:pt x="147" y="373"/>
                    <a:pt x="144" y="373"/>
                  </a:cubicBezTo>
                  <a:cubicBezTo>
                    <a:pt x="140" y="374"/>
                    <a:pt x="137" y="374"/>
                    <a:pt x="134" y="373"/>
                  </a:cubicBezTo>
                  <a:cubicBezTo>
                    <a:pt x="132" y="372"/>
                    <a:pt x="130" y="372"/>
                    <a:pt x="128" y="370"/>
                  </a:cubicBezTo>
                  <a:cubicBezTo>
                    <a:pt x="128" y="370"/>
                    <a:pt x="128" y="370"/>
                    <a:pt x="128" y="370"/>
                  </a:cubicBezTo>
                  <a:cubicBezTo>
                    <a:pt x="126" y="369"/>
                    <a:pt x="126" y="369"/>
                    <a:pt x="126" y="369"/>
                  </a:cubicBezTo>
                  <a:cubicBezTo>
                    <a:pt x="124" y="367"/>
                    <a:pt x="123" y="364"/>
                    <a:pt x="123" y="361"/>
                  </a:cubicBezTo>
                  <a:cubicBezTo>
                    <a:pt x="122" y="358"/>
                    <a:pt x="123" y="355"/>
                    <a:pt x="123" y="351"/>
                  </a:cubicBezTo>
                  <a:cubicBezTo>
                    <a:pt x="124" y="348"/>
                    <a:pt x="126" y="344"/>
                    <a:pt x="129" y="340"/>
                  </a:cubicBezTo>
                  <a:cubicBezTo>
                    <a:pt x="131" y="336"/>
                    <a:pt x="134" y="332"/>
                    <a:pt x="138" y="329"/>
                  </a:cubicBezTo>
                  <a:cubicBezTo>
                    <a:pt x="138" y="329"/>
                    <a:pt x="138" y="329"/>
                    <a:pt x="138" y="329"/>
                  </a:cubicBezTo>
                  <a:cubicBezTo>
                    <a:pt x="138" y="329"/>
                    <a:pt x="138" y="329"/>
                    <a:pt x="138" y="329"/>
                  </a:cubicBezTo>
                  <a:cubicBezTo>
                    <a:pt x="138" y="329"/>
                    <a:pt x="138" y="329"/>
                    <a:pt x="138" y="329"/>
                  </a:cubicBezTo>
                  <a:cubicBezTo>
                    <a:pt x="141" y="326"/>
                    <a:pt x="145" y="323"/>
                    <a:pt x="149" y="321"/>
                  </a:cubicBezTo>
                  <a:cubicBezTo>
                    <a:pt x="153" y="319"/>
                    <a:pt x="157" y="317"/>
                    <a:pt x="161" y="317"/>
                  </a:cubicBezTo>
                  <a:cubicBezTo>
                    <a:pt x="165" y="316"/>
                    <a:pt x="168" y="316"/>
                    <a:pt x="171" y="3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25" name="Google Shape;51;p5">
            <a:extLst>
              <a:ext uri="{FF2B5EF4-FFF2-40B4-BE49-F238E27FC236}">
                <a16:creationId xmlns:a16="http://schemas.microsoft.com/office/drawing/2014/main" id="{46587A3D-6D53-F847-ADFC-981E9EEF1143}"/>
              </a:ext>
            </a:extLst>
          </p:cNvPr>
          <p:cNvSpPr txBox="1"/>
          <p:nvPr/>
        </p:nvSpPr>
        <p:spPr>
          <a:xfrm>
            <a:off x="1778325" y="3175225"/>
            <a:ext cx="10078713" cy="14922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144000" rIns="91425" bIns="45700" anchor="t" anchorCtr="0">
            <a:no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de-DE" sz="15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Positive PR</a:t>
            </a:r>
          </a:p>
          <a:p>
            <a:pPr lvl="0"/>
            <a:endParaRPr lang="de-DE" sz="1400" b="1">
              <a:solidFill>
                <a:schemeClr val="tx2">
                  <a:lumMod val="75000"/>
                </a:schemeClr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Arial"/>
            </a:endParaRPr>
          </a:p>
          <a:p>
            <a:pPr lvl="0"/>
            <a:r>
              <a:rPr lang="de-DE" sz="14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Kommunikation Ihres Engagements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auf unserer Homepage, sowie an der ESB Business School und der gesamten Hochschule Reutlingen. Regionale und überregionale </a:t>
            </a:r>
            <a:r>
              <a:rPr lang="de-DE" sz="14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Medienpräsenz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– vor, während und nach der Tour.</a:t>
            </a:r>
          </a:p>
          <a:p>
            <a:pPr lvl="0" algn="ctr"/>
            <a:endParaRPr lang="de-DE" sz="1400">
              <a:solidFill>
                <a:schemeClr val="tx2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34963" y="3175224"/>
            <a:ext cx="1260475" cy="149222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>
              <a:latin typeface="Open Sans" panose="020B0606030504020204"/>
            </a:endParaRPr>
          </a:p>
        </p:txBody>
      </p:sp>
      <p:grpSp>
        <p:nvGrpSpPr>
          <p:cNvPr id="36" name="Group 43"/>
          <p:cNvGrpSpPr>
            <a:grpSpLocks noChangeAspect="1"/>
          </p:cNvGrpSpPr>
          <p:nvPr/>
        </p:nvGrpSpPr>
        <p:grpSpPr>
          <a:xfrm>
            <a:off x="582929" y="3590713"/>
            <a:ext cx="761930" cy="661244"/>
            <a:chOff x="273050" y="1465808"/>
            <a:chExt cx="1391276" cy="1106908"/>
          </a:xfrm>
          <a:solidFill>
            <a:schemeClr val="bg1"/>
          </a:solidFill>
        </p:grpSpPr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273050" y="2066435"/>
              <a:ext cx="1391276" cy="506281"/>
            </a:xfrm>
            <a:custGeom>
              <a:avLst/>
              <a:gdLst/>
              <a:ahLst/>
              <a:cxnLst>
                <a:cxn ang="0">
                  <a:pos x="25" y="161"/>
                </a:cxn>
                <a:cxn ang="0">
                  <a:pos x="0" y="51"/>
                </a:cxn>
                <a:cxn ang="0">
                  <a:pos x="129" y="8"/>
                </a:cxn>
                <a:cxn ang="0">
                  <a:pos x="172" y="4"/>
                </a:cxn>
                <a:cxn ang="0">
                  <a:pos x="273" y="44"/>
                </a:cxn>
                <a:cxn ang="0">
                  <a:pos x="285" y="49"/>
                </a:cxn>
                <a:cxn ang="0">
                  <a:pos x="267" y="96"/>
                </a:cxn>
                <a:cxn ang="0">
                  <a:pos x="233" y="84"/>
                </a:cxn>
                <a:cxn ang="0">
                  <a:pos x="222" y="90"/>
                </a:cxn>
                <a:cxn ang="0">
                  <a:pos x="263" y="104"/>
                </a:cxn>
                <a:cxn ang="0">
                  <a:pos x="279" y="106"/>
                </a:cxn>
                <a:cxn ang="0">
                  <a:pos x="308" y="58"/>
                </a:cxn>
                <a:cxn ang="0">
                  <a:pos x="387" y="21"/>
                </a:cxn>
                <a:cxn ang="0">
                  <a:pos x="412" y="64"/>
                </a:cxn>
                <a:cxn ang="0">
                  <a:pos x="293" y="132"/>
                </a:cxn>
                <a:cxn ang="0">
                  <a:pos x="269" y="137"/>
                </a:cxn>
                <a:cxn ang="0">
                  <a:pos x="144" y="111"/>
                </a:cxn>
                <a:cxn ang="0">
                  <a:pos x="102" y="117"/>
                </a:cxn>
                <a:cxn ang="0">
                  <a:pos x="25" y="161"/>
                </a:cxn>
              </a:cxnLst>
              <a:rect l="0" t="0" r="r" b="b"/>
              <a:pathLst>
                <a:path w="443" h="161">
                  <a:moveTo>
                    <a:pt x="25" y="161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44" y="1"/>
                    <a:pt x="159" y="0"/>
                    <a:pt x="172" y="4"/>
                  </a:cubicBezTo>
                  <a:cubicBezTo>
                    <a:pt x="273" y="44"/>
                    <a:pt x="273" y="44"/>
                    <a:pt x="273" y="44"/>
                  </a:cubicBezTo>
                  <a:cubicBezTo>
                    <a:pt x="285" y="49"/>
                    <a:pt x="285" y="49"/>
                    <a:pt x="285" y="49"/>
                  </a:cubicBezTo>
                  <a:cubicBezTo>
                    <a:pt x="312" y="59"/>
                    <a:pt x="305" y="107"/>
                    <a:pt x="267" y="96"/>
                  </a:cubicBezTo>
                  <a:cubicBezTo>
                    <a:pt x="233" y="84"/>
                    <a:pt x="233" y="84"/>
                    <a:pt x="233" y="84"/>
                  </a:cubicBezTo>
                  <a:cubicBezTo>
                    <a:pt x="214" y="78"/>
                    <a:pt x="212" y="87"/>
                    <a:pt x="222" y="90"/>
                  </a:cubicBezTo>
                  <a:cubicBezTo>
                    <a:pt x="263" y="104"/>
                    <a:pt x="263" y="104"/>
                    <a:pt x="263" y="104"/>
                  </a:cubicBezTo>
                  <a:cubicBezTo>
                    <a:pt x="269" y="106"/>
                    <a:pt x="273" y="106"/>
                    <a:pt x="279" y="106"/>
                  </a:cubicBezTo>
                  <a:cubicBezTo>
                    <a:pt x="299" y="105"/>
                    <a:pt x="318" y="86"/>
                    <a:pt x="308" y="58"/>
                  </a:cubicBezTo>
                  <a:cubicBezTo>
                    <a:pt x="387" y="21"/>
                    <a:pt x="387" y="21"/>
                    <a:pt x="387" y="21"/>
                  </a:cubicBezTo>
                  <a:cubicBezTo>
                    <a:pt x="417" y="3"/>
                    <a:pt x="443" y="46"/>
                    <a:pt x="412" y="64"/>
                  </a:cubicBezTo>
                  <a:cubicBezTo>
                    <a:pt x="293" y="132"/>
                    <a:pt x="293" y="132"/>
                    <a:pt x="293" y="132"/>
                  </a:cubicBezTo>
                  <a:cubicBezTo>
                    <a:pt x="285" y="137"/>
                    <a:pt x="276" y="139"/>
                    <a:pt x="269" y="137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23" y="106"/>
                    <a:pt x="122" y="106"/>
                    <a:pt x="102" y="117"/>
                  </a:cubicBezTo>
                  <a:cubicBezTo>
                    <a:pt x="25" y="161"/>
                    <a:pt x="25" y="161"/>
                    <a:pt x="25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auto">
            <a:xfrm>
              <a:off x="828497" y="1465808"/>
              <a:ext cx="814568" cy="768059"/>
            </a:xfrm>
            <a:custGeom>
              <a:avLst/>
              <a:gdLst/>
              <a:ahLst/>
              <a:cxnLst>
                <a:cxn ang="0">
                  <a:pos x="167" y="174"/>
                </a:cxn>
                <a:cxn ang="0">
                  <a:pos x="150" y="165"/>
                </a:cxn>
                <a:cxn ang="0">
                  <a:pos x="113" y="146"/>
                </a:cxn>
                <a:cxn ang="0">
                  <a:pos x="196" y="103"/>
                </a:cxn>
                <a:cxn ang="0">
                  <a:pos x="244" y="34"/>
                </a:cxn>
                <a:cxn ang="0">
                  <a:pos x="248" y="2"/>
                </a:cxn>
                <a:cxn ang="0">
                  <a:pos x="201" y="2"/>
                </a:cxn>
                <a:cxn ang="0">
                  <a:pos x="117" y="99"/>
                </a:cxn>
                <a:cxn ang="0">
                  <a:pos x="208" y="29"/>
                </a:cxn>
                <a:cxn ang="0">
                  <a:pos x="107" y="130"/>
                </a:cxn>
                <a:cxn ang="0">
                  <a:pos x="100" y="144"/>
                </a:cxn>
                <a:cxn ang="0">
                  <a:pos x="87" y="145"/>
                </a:cxn>
                <a:cxn ang="0">
                  <a:pos x="54" y="155"/>
                </a:cxn>
                <a:cxn ang="0">
                  <a:pos x="23" y="172"/>
                </a:cxn>
                <a:cxn ang="0">
                  <a:pos x="0" y="189"/>
                </a:cxn>
                <a:cxn ang="0">
                  <a:pos x="125" y="244"/>
                </a:cxn>
                <a:cxn ang="0">
                  <a:pos x="206" y="205"/>
                </a:cxn>
                <a:cxn ang="0">
                  <a:pos x="206" y="205"/>
                </a:cxn>
                <a:cxn ang="0">
                  <a:pos x="206" y="205"/>
                </a:cxn>
                <a:cxn ang="0">
                  <a:pos x="206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7" y="205"/>
                </a:cxn>
                <a:cxn ang="0">
                  <a:pos x="208" y="205"/>
                </a:cxn>
                <a:cxn ang="0">
                  <a:pos x="208" y="205"/>
                </a:cxn>
                <a:cxn ang="0">
                  <a:pos x="208" y="205"/>
                </a:cxn>
                <a:cxn ang="0">
                  <a:pos x="208" y="205"/>
                </a:cxn>
                <a:cxn ang="0">
                  <a:pos x="186" y="186"/>
                </a:cxn>
              </a:cxnLst>
              <a:rect l="0" t="0" r="r" b="b"/>
              <a:pathLst>
                <a:path w="259" h="244">
                  <a:moveTo>
                    <a:pt x="186" y="186"/>
                  </a:moveTo>
                  <a:cubicBezTo>
                    <a:pt x="180" y="177"/>
                    <a:pt x="171" y="174"/>
                    <a:pt x="167" y="174"/>
                  </a:cubicBezTo>
                  <a:cubicBezTo>
                    <a:pt x="165" y="173"/>
                    <a:pt x="166" y="174"/>
                    <a:pt x="164" y="172"/>
                  </a:cubicBezTo>
                  <a:cubicBezTo>
                    <a:pt x="159" y="168"/>
                    <a:pt x="156" y="165"/>
                    <a:pt x="150" y="165"/>
                  </a:cubicBezTo>
                  <a:cubicBezTo>
                    <a:pt x="144" y="164"/>
                    <a:pt x="136" y="162"/>
                    <a:pt x="130" y="157"/>
                  </a:cubicBezTo>
                  <a:cubicBezTo>
                    <a:pt x="125" y="153"/>
                    <a:pt x="120" y="147"/>
                    <a:pt x="113" y="146"/>
                  </a:cubicBezTo>
                  <a:cubicBezTo>
                    <a:pt x="115" y="142"/>
                    <a:pt x="121" y="129"/>
                    <a:pt x="131" y="116"/>
                  </a:cubicBezTo>
                  <a:cubicBezTo>
                    <a:pt x="145" y="98"/>
                    <a:pt x="177" y="104"/>
                    <a:pt x="196" y="103"/>
                  </a:cubicBezTo>
                  <a:cubicBezTo>
                    <a:pt x="220" y="102"/>
                    <a:pt x="232" y="89"/>
                    <a:pt x="238" y="73"/>
                  </a:cubicBezTo>
                  <a:cubicBezTo>
                    <a:pt x="243" y="58"/>
                    <a:pt x="243" y="49"/>
                    <a:pt x="244" y="34"/>
                  </a:cubicBezTo>
                  <a:cubicBezTo>
                    <a:pt x="246" y="14"/>
                    <a:pt x="258" y="9"/>
                    <a:pt x="258" y="6"/>
                  </a:cubicBezTo>
                  <a:cubicBezTo>
                    <a:pt x="259" y="4"/>
                    <a:pt x="255" y="3"/>
                    <a:pt x="248" y="2"/>
                  </a:cubicBezTo>
                  <a:cubicBezTo>
                    <a:pt x="243" y="1"/>
                    <a:pt x="237" y="1"/>
                    <a:pt x="232" y="1"/>
                  </a:cubicBezTo>
                  <a:cubicBezTo>
                    <a:pt x="220" y="0"/>
                    <a:pt x="204" y="2"/>
                    <a:pt x="201" y="2"/>
                  </a:cubicBezTo>
                  <a:cubicBezTo>
                    <a:pt x="162" y="8"/>
                    <a:pt x="109" y="31"/>
                    <a:pt x="115" y="86"/>
                  </a:cubicBezTo>
                  <a:cubicBezTo>
                    <a:pt x="116" y="90"/>
                    <a:pt x="116" y="95"/>
                    <a:pt x="117" y="99"/>
                  </a:cubicBezTo>
                  <a:cubicBezTo>
                    <a:pt x="134" y="72"/>
                    <a:pt x="153" y="49"/>
                    <a:pt x="177" y="34"/>
                  </a:cubicBezTo>
                  <a:cubicBezTo>
                    <a:pt x="202" y="19"/>
                    <a:pt x="234" y="22"/>
                    <a:pt x="208" y="29"/>
                  </a:cubicBezTo>
                  <a:cubicBezTo>
                    <a:pt x="171" y="40"/>
                    <a:pt x="147" y="68"/>
                    <a:pt x="124" y="103"/>
                  </a:cubicBezTo>
                  <a:cubicBezTo>
                    <a:pt x="118" y="112"/>
                    <a:pt x="112" y="121"/>
                    <a:pt x="107" y="130"/>
                  </a:cubicBezTo>
                  <a:cubicBezTo>
                    <a:pt x="103" y="137"/>
                    <a:pt x="101" y="142"/>
                    <a:pt x="101" y="142"/>
                  </a:cubicBezTo>
                  <a:cubicBezTo>
                    <a:pt x="101" y="142"/>
                    <a:pt x="100" y="143"/>
                    <a:pt x="100" y="144"/>
                  </a:cubicBezTo>
                  <a:cubicBezTo>
                    <a:pt x="99" y="144"/>
                    <a:pt x="99" y="144"/>
                    <a:pt x="99" y="144"/>
                  </a:cubicBezTo>
                  <a:cubicBezTo>
                    <a:pt x="97" y="144"/>
                    <a:pt x="92" y="144"/>
                    <a:pt x="87" y="145"/>
                  </a:cubicBezTo>
                  <a:cubicBezTo>
                    <a:pt x="82" y="146"/>
                    <a:pt x="79" y="149"/>
                    <a:pt x="73" y="151"/>
                  </a:cubicBezTo>
                  <a:cubicBezTo>
                    <a:pt x="67" y="153"/>
                    <a:pt x="58" y="153"/>
                    <a:pt x="54" y="155"/>
                  </a:cubicBezTo>
                  <a:cubicBezTo>
                    <a:pt x="44" y="163"/>
                    <a:pt x="46" y="159"/>
                    <a:pt x="37" y="161"/>
                  </a:cubicBezTo>
                  <a:cubicBezTo>
                    <a:pt x="28" y="164"/>
                    <a:pt x="33" y="165"/>
                    <a:pt x="23" y="172"/>
                  </a:cubicBezTo>
                  <a:cubicBezTo>
                    <a:pt x="13" y="179"/>
                    <a:pt x="17" y="177"/>
                    <a:pt x="9" y="181"/>
                  </a:cubicBezTo>
                  <a:cubicBezTo>
                    <a:pt x="6" y="182"/>
                    <a:pt x="3" y="185"/>
                    <a:pt x="0" y="189"/>
                  </a:cubicBezTo>
                  <a:cubicBezTo>
                    <a:pt x="110" y="233"/>
                    <a:pt x="110" y="233"/>
                    <a:pt x="110" y="233"/>
                  </a:cubicBezTo>
                  <a:cubicBezTo>
                    <a:pt x="116" y="235"/>
                    <a:pt x="121" y="239"/>
                    <a:pt x="125" y="244"/>
                  </a:cubicBezTo>
                  <a:cubicBezTo>
                    <a:pt x="126" y="243"/>
                    <a:pt x="126" y="243"/>
                    <a:pt x="126" y="243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7" y="205"/>
                    <a:pt x="207" y="205"/>
                    <a:pt x="207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8" y="205"/>
                    <a:pt x="208" y="205"/>
                    <a:pt x="208" y="205"/>
                  </a:cubicBezTo>
                  <a:cubicBezTo>
                    <a:pt x="205" y="202"/>
                    <a:pt x="201" y="198"/>
                    <a:pt x="200" y="196"/>
                  </a:cubicBezTo>
                  <a:cubicBezTo>
                    <a:pt x="196" y="191"/>
                    <a:pt x="190" y="192"/>
                    <a:pt x="186" y="1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754083" y="1497699"/>
              <a:ext cx="433196" cy="324232"/>
            </a:xfrm>
            <a:custGeom>
              <a:avLst/>
              <a:gdLst/>
              <a:ahLst/>
              <a:cxnLst>
                <a:cxn ang="0">
                  <a:pos x="62" y="82"/>
                </a:cxn>
                <a:cxn ang="0">
                  <a:pos x="25" y="62"/>
                </a:cxn>
                <a:cxn ang="0">
                  <a:pos x="16" y="31"/>
                </a:cxn>
                <a:cxn ang="0">
                  <a:pos x="1" y="9"/>
                </a:cxn>
                <a:cxn ang="0">
                  <a:pos x="9" y="5"/>
                </a:cxn>
                <a:cxn ang="0">
                  <a:pos x="22" y="2"/>
                </a:cxn>
                <a:cxn ang="0">
                  <a:pos x="47" y="0"/>
                </a:cxn>
                <a:cxn ang="0">
                  <a:pos x="127" y="60"/>
                </a:cxn>
                <a:cxn ang="0">
                  <a:pos x="128" y="70"/>
                </a:cxn>
                <a:cxn ang="0">
                  <a:pos x="71" y="23"/>
                </a:cxn>
                <a:cxn ang="0">
                  <a:pos x="45" y="23"/>
                </a:cxn>
                <a:cxn ang="0">
                  <a:pos x="122" y="75"/>
                </a:cxn>
                <a:cxn ang="0">
                  <a:pos x="138" y="94"/>
                </a:cxn>
                <a:cxn ang="0">
                  <a:pos x="132" y="103"/>
                </a:cxn>
                <a:cxn ang="0">
                  <a:pos x="117" y="86"/>
                </a:cxn>
                <a:cxn ang="0">
                  <a:pos x="62" y="82"/>
                </a:cxn>
              </a:cxnLst>
              <a:rect l="0" t="0" r="r" b="b"/>
              <a:pathLst>
                <a:path w="138" h="103">
                  <a:moveTo>
                    <a:pt x="62" y="82"/>
                  </a:moveTo>
                  <a:cubicBezTo>
                    <a:pt x="43" y="84"/>
                    <a:pt x="32" y="75"/>
                    <a:pt x="25" y="62"/>
                  </a:cubicBezTo>
                  <a:cubicBezTo>
                    <a:pt x="19" y="50"/>
                    <a:pt x="18" y="42"/>
                    <a:pt x="16" y="31"/>
                  </a:cubicBezTo>
                  <a:cubicBezTo>
                    <a:pt x="12" y="14"/>
                    <a:pt x="2" y="12"/>
                    <a:pt x="1" y="9"/>
                  </a:cubicBezTo>
                  <a:cubicBezTo>
                    <a:pt x="0" y="7"/>
                    <a:pt x="3" y="6"/>
                    <a:pt x="9" y="5"/>
                  </a:cubicBezTo>
                  <a:cubicBezTo>
                    <a:pt x="13" y="3"/>
                    <a:pt x="18" y="3"/>
                    <a:pt x="22" y="2"/>
                  </a:cubicBezTo>
                  <a:cubicBezTo>
                    <a:pt x="32" y="0"/>
                    <a:pt x="45" y="0"/>
                    <a:pt x="47" y="0"/>
                  </a:cubicBezTo>
                  <a:cubicBezTo>
                    <a:pt x="81" y="1"/>
                    <a:pt x="126" y="13"/>
                    <a:pt x="127" y="60"/>
                  </a:cubicBezTo>
                  <a:cubicBezTo>
                    <a:pt x="127" y="63"/>
                    <a:pt x="128" y="67"/>
                    <a:pt x="128" y="70"/>
                  </a:cubicBezTo>
                  <a:cubicBezTo>
                    <a:pt x="110" y="50"/>
                    <a:pt x="93" y="33"/>
                    <a:pt x="71" y="23"/>
                  </a:cubicBezTo>
                  <a:cubicBezTo>
                    <a:pt x="49" y="14"/>
                    <a:pt x="23" y="20"/>
                    <a:pt x="45" y="23"/>
                  </a:cubicBezTo>
                  <a:cubicBezTo>
                    <a:pt x="76" y="27"/>
                    <a:pt x="99" y="48"/>
                    <a:pt x="122" y="75"/>
                  </a:cubicBezTo>
                  <a:cubicBezTo>
                    <a:pt x="127" y="81"/>
                    <a:pt x="133" y="87"/>
                    <a:pt x="138" y="94"/>
                  </a:cubicBezTo>
                  <a:cubicBezTo>
                    <a:pt x="136" y="96"/>
                    <a:pt x="134" y="100"/>
                    <a:pt x="132" y="103"/>
                  </a:cubicBezTo>
                  <a:cubicBezTo>
                    <a:pt x="129" y="99"/>
                    <a:pt x="124" y="92"/>
                    <a:pt x="117" y="86"/>
                  </a:cubicBezTo>
                  <a:cubicBezTo>
                    <a:pt x="104" y="73"/>
                    <a:pt x="79" y="81"/>
                    <a:pt x="62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8" name="Google Shape;51;p5">
            <a:extLst>
              <a:ext uri="{FF2B5EF4-FFF2-40B4-BE49-F238E27FC236}">
                <a16:creationId xmlns:a16="http://schemas.microsoft.com/office/drawing/2014/main" id="{125BF0C2-031C-BD42-BC64-61C5BCA3AF3C}"/>
              </a:ext>
            </a:extLst>
          </p:cNvPr>
          <p:cNvSpPr txBox="1"/>
          <p:nvPr/>
        </p:nvSpPr>
        <p:spPr>
          <a:xfrm>
            <a:off x="1778325" y="4863255"/>
            <a:ext cx="10078713" cy="14934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144000" rIns="91425" bIns="45700" anchor="t" anchorCtr="0">
            <a:no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de-DE" sz="15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  <a:sym typeface="Arial"/>
              </a:rPr>
              <a:t>Hochschulpräsenz an der ESB Business School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endParaRPr lang="de-DE" sz="1400" b="1">
              <a:solidFill>
                <a:srgbClr val="002060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Arial"/>
            </a:endParaRPr>
          </a:p>
          <a:p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teigerung des </a:t>
            </a:r>
            <a:r>
              <a:rPr lang="de-DE" sz="1400" b="1">
                <a:latin typeface="Open Sans Semibold" panose="020B0606030504020204" pitchFamily="34" charset="0"/>
                <a:sym typeface="Arial"/>
              </a:rPr>
              <a:t>Bekanntheitsgrades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unter den Studierenden der ESB Business School und potentiellen Bewerbern.</a:t>
            </a:r>
          </a:p>
          <a:p>
            <a:pPr lvl="0" algn="ctr"/>
            <a:endParaRPr lang="de-DE" sz="1400" b="1">
              <a:solidFill>
                <a:srgbClr val="002060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  <a:sym typeface="Arial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334963" y="4862062"/>
            <a:ext cx="1260475" cy="149341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Open Sans" panose="020B0606030504020204"/>
            </a:endParaRPr>
          </a:p>
        </p:txBody>
      </p:sp>
      <p:sp>
        <p:nvSpPr>
          <p:cNvPr id="40" name="Freeform 17"/>
          <p:cNvSpPr>
            <a:spLocks noChangeAspect="1" noEditPoints="1"/>
          </p:cNvSpPr>
          <p:nvPr/>
        </p:nvSpPr>
        <p:spPr bwMode="auto">
          <a:xfrm flipH="1">
            <a:off x="586736" y="5340376"/>
            <a:ext cx="754317" cy="536789"/>
          </a:xfrm>
          <a:custGeom>
            <a:avLst/>
            <a:gdLst/>
            <a:ahLst/>
            <a:cxnLst>
              <a:cxn ang="0">
                <a:pos x="56" y="66"/>
              </a:cxn>
              <a:cxn ang="0">
                <a:pos x="93" y="37"/>
              </a:cxn>
              <a:cxn ang="0">
                <a:pos x="302" y="35"/>
              </a:cxn>
              <a:cxn ang="0">
                <a:pos x="347" y="72"/>
              </a:cxn>
              <a:cxn ang="0">
                <a:pos x="389" y="118"/>
              </a:cxn>
              <a:cxn ang="0">
                <a:pos x="382" y="151"/>
              </a:cxn>
              <a:cxn ang="0">
                <a:pos x="368" y="167"/>
              </a:cxn>
              <a:cxn ang="0">
                <a:pos x="271" y="239"/>
              </a:cxn>
              <a:cxn ang="0">
                <a:pos x="134" y="242"/>
              </a:cxn>
              <a:cxn ang="0">
                <a:pos x="29" y="167"/>
              </a:cxn>
              <a:cxn ang="0">
                <a:pos x="15" y="151"/>
              </a:cxn>
              <a:cxn ang="0">
                <a:pos x="9" y="117"/>
              </a:cxn>
              <a:cxn ang="0">
                <a:pos x="17" y="108"/>
              </a:cxn>
              <a:cxn ang="0">
                <a:pos x="27" y="97"/>
              </a:cxn>
              <a:cxn ang="0">
                <a:pos x="56" y="66"/>
              </a:cxn>
              <a:cxn ang="0">
                <a:pos x="251" y="43"/>
              </a:cxn>
              <a:cxn ang="0">
                <a:pos x="290" y="119"/>
              </a:cxn>
              <a:cxn ang="0">
                <a:pos x="199" y="210"/>
              </a:cxn>
              <a:cxn ang="0">
                <a:pos x="107" y="119"/>
              </a:cxn>
              <a:cxn ang="0">
                <a:pos x="121" y="70"/>
              </a:cxn>
              <a:cxn ang="0">
                <a:pos x="156" y="105"/>
              </a:cxn>
              <a:cxn ang="0">
                <a:pos x="191" y="70"/>
              </a:cxn>
              <a:cxn ang="0">
                <a:pos x="172" y="38"/>
              </a:cxn>
              <a:cxn ang="0">
                <a:pos x="125" y="51"/>
              </a:cxn>
              <a:cxn ang="0">
                <a:pos x="80" y="81"/>
              </a:cxn>
              <a:cxn ang="0">
                <a:pos x="38" y="126"/>
              </a:cxn>
              <a:cxn ang="0">
                <a:pos x="37" y="135"/>
              </a:cxn>
              <a:cxn ang="0">
                <a:pos x="43" y="141"/>
              </a:cxn>
              <a:cxn ang="0">
                <a:pos x="113" y="202"/>
              </a:cxn>
              <a:cxn ang="0">
                <a:pos x="249" y="218"/>
              </a:cxn>
              <a:cxn ang="0">
                <a:pos x="296" y="194"/>
              </a:cxn>
              <a:cxn ang="0">
                <a:pos x="355" y="141"/>
              </a:cxn>
              <a:cxn ang="0">
                <a:pos x="360" y="135"/>
              </a:cxn>
              <a:cxn ang="0">
                <a:pos x="360" y="126"/>
              </a:cxn>
              <a:cxn ang="0">
                <a:pos x="332" y="95"/>
              </a:cxn>
              <a:cxn ang="0">
                <a:pos x="279" y="54"/>
              </a:cxn>
              <a:cxn ang="0">
                <a:pos x="251" y="43"/>
              </a:cxn>
            </a:cxnLst>
            <a:rect l="0" t="0" r="r" b="b"/>
            <a:pathLst>
              <a:path w="397" h="259">
                <a:moveTo>
                  <a:pt x="56" y="66"/>
                </a:moveTo>
                <a:cubicBezTo>
                  <a:pt x="67" y="55"/>
                  <a:pt x="79" y="45"/>
                  <a:pt x="93" y="37"/>
                </a:cubicBezTo>
                <a:cubicBezTo>
                  <a:pt x="154" y="0"/>
                  <a:pt x="241" y="1"/>
                  <a:pt x="302" y="35"/>
                </a:cubicBezTo>
                <a:cubicBezTo>
                  <a:pt x="319" y="45"/>
                  <a:pt x="334" y="58"/>
                  <a:pt x="347" y="72"/>
                </a:cubicBezTo>
                <a:cubicBezTo>
                  <a:pt x="348" y="73"/>
                  <a:pt x="381" y="107"/>
                  <a:pt x="389" y="118"/>
                </a:cubicBezTo>
                <a:cubicBezTo>
                  <a:pt x="397" y="130"/>
                  <a:pt x="393" y="139"/>
                  <a:pt x="382" y="151"/>
                </a:cubicBezTo>
                <a:cubicBezTo>
                  <a:pt x="377" y="156"/>
                  <a:pt x="373" y="162"/>
                  <a:pt x="368" y="167"/>
                </a:cubicBezTo>
                <a:cubicBezTo>
                  <a:pt x="337" y="201"/>
                  <a:pt x="304" y="225"/>
                  <a:pt x="271" y="239"/>
                </a:cubicBezTo>
                <a:cubicBezTo>
                  <a:pt x="226" y="258"/>
                  <a:pt x="179" y="259"/>
                  <a:pt x="134" y="242"/>
                </a:cubicBezTo>
                <a:cubicBezTo>
                  <a:pt x="97" y="228"/>
                  <a:pt x="62" y="203"/>
                  <a:pt x="29" y="167"/>
                </a:cubicBezTo>
                <a:cubicBezTo>
                  <a:pt x="24" y="162"/>
                  <a:pt x="20" y="156"/>
                  <a:pt x="15" y="151"/>
                </a:cubicBezTo>
                <a:cubicBezTo>
                  <a:pt x="4" y="139"/>
                  <a:pt x="0" y="130"/>
                  <a:pt x="9" y="117"/>
                </a:cubicBezTo>
                <a:cubicBezTo>
                  <a:pt x="12" y="114"/>
                  <a:pt x="15" y="111"/>
                  <a:pt x="17" y="108"/>
                </a:cubicBezTo>
                <a:cubicBezTo>
                  <a:pt x="21" y="105"/>
                  <a:pt x="24" y="101"/>
                  <a:pt x="27" y="97"/>
                </a:cubicBezTo>
                <a:cubicBezTo>
                  <a:pt x="36" y="86"/>
                  <a:pt x="46" y="76"/>
                  <a:pt x="56" y="66"/>
                </a:cubicBezTo>
                <a:close/>
                <a:moveTo>
                  <a:pt x="251" y="43"/>
                </a:moveTo>
                <a:cubicBezTo>
                  <a:pt x="275" y="60"/>
                  <a:pt x="290" y="88"/>
                  <a:pt x="290" y="119"/>
                </a:cubicBezTo>
                <a:cubicBezTo>
                  <a:pt x="290" y="169"/>
                  <a:pt x="249" y="210"/>
                  <a:pt x="199" y="210"/>
                </a:cubicBezTo>
                <a:cubicBezTo>
                  <a:pt x="148" y="210"/>
                  <a:pt x="107" y="169"/>
                  <a:pt x="107" y="119"/>
                </a:cubicBezTo>
                <a:cubicBezTo>
                  <a:pt x="107" y="101"/>
                  <a:pt x="112" y="84"/>
                  <a:pt x="121" y="70"/>
                </a:cubicBezTo>
                <a:cubicBezTo>
                  <a:pt x="121" y="90"/>
                  <a:pt x="137" y="105"/>
                  <a:pt x="156" y="105"/>
                </a:cubicBezTo>
                <a:cubicBezTo>
                  <a:pt x="176" y="105"/>
                  <a:pt x="191" y="89"/>
                  <a:pt x="191" y="70"/>
                </a:cubicBezTo>
                <a:cubicBezTo>
                  <a:pt x="191" y="56"/>
                  <a:pt x="183" y="44"/>
                  <a:pt x="172" y="38"/>
                </a:cubicBezTo>
                <a:cubicBezTo>
                  <a:pt x="155" y="40"/>
                  <a:pt x="140" y="45"/>
                  <a:pt x="125" y="51"/>
                </a:cubicBezTo>
                <a:cubicBezTo>
                  <a:pt x="107" y="58"/>
                  <a:pt x="94" y="68"/>
                  <a:pt x="80" y="81"/>
                </a:cubicBezTo>
                <a:cubicBezTo>
                  <a:pt x="65" y="94"/>
                  <a:pt x="52" y="110"/>
                  <a:pt x="38" y="126"/>
                </a:cubicBezTo>
                <a:cubicBezTo>
                  <a:pt x="35" y="129"/>
                  <a:pt x="34" y="132"/>
                  <a:pt x="37" y="135"/>
                </a:cubicBezTo>
                <a:cubicBezTo>
                  <a:pt x="39" y="137"/>
                  <a:pt x="41" y="139"/>
                  <a:pt x="43" y="141"/>
                </a:cubicBezTo>
                <a:cubicBezTo>
                  <a:pt x="66" y="167"/>
                  <a:pt x="89" y="187"/>
                  <a:pt x="113" y="202"/>
                </a:cubicBezTo>
                <a:cubicBezTo>
                  <a:pt x="157" y="228"/>
                  <a:pt x="202" y="234"/>
                  <a:pt x="249" y="218"/>
                </a:cubicBezTo>
                <a:cubicBezTo>
                  <a:pt x="265" y="213"/>
                  <a:pt x="281" y="204"/>
                  <a:pt x="296" y="194"/>
                </a:cubicBezTo>
                <a:cubicBezTo>
                  <a:pt x="316" y="181"/>
                  <a:pt x="335" y="163"/>
                  <a:pt x="355" y="141"/>
                </a:cubicBezTo>
                <a:cubicBezTo>
                  <a:pt x="357" y="139"/>
                  <a:pt x="358" y="137"/>
                  <a:pt x="360" y="135"/>
                </a:cubicBezTo>
                <a:cubicBezTo>
                  <a:pt x="363" y="132"/>
                  <a:pt x="363" y="129"/>
                  <a:pt x="360" y="126"/>
                </a:cubicBezTo>
                <a:cubicBezTo>
                  <a:pt x="351" y="116"/>
                  <a:pt x="341" y="105"/>
                  <a:pt x="332" y="95"/>
                </a:cubicBezTo>
                <a:cubicBezTo>
                  <a:pt x="316" y="78"/>
                  <a:pt x="300" y="64"/>
                  <a:pt x="279" y="54"/>
                </a:cubicBezTo>
                <a:cubicBezTo>
                  <a:pt x="270" y="50"/>
                  <a:pt x="261" y="46"/>
                  <a:pt x="251" y="4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Rechteck 20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7D9EAC8-B50C-9048-96CE-82BA58319FF4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C6AC301C-0790-A14E-9806-FA0E3823A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6"/>
              <a:tile tx="0" ty="0" sx="100000" sy="100000" flip="none" algn="tl"/>
            </a:blipFill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BA9FE7B3-F0D0-B545-9C4F-D93264306441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29" name="Grafik 2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1BFE196-AAFD-B14C-8368-DB8A5CC49C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482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6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45;p5">
            <a:extLst>
              <a:ext uri="{FF2B5EF4-FFF2-40B4-BE49-F238E27FC236}">
                <a16:creationId xmlns:a16="http://schemas.microsoft.com/office/drawing/2014/main" id="{EEA210BB-1765-0C44-A18E-B852555C0983}"/>
              </a:ext>
            </a:extLst>
          </p:cNvPr>
          <p:cNvSpPr txBox="1">
            <a:spLocks/>
          </p:cNvSpPr>
          <p:nvPr/>
        </p:nvSpPr>
        <p:spPr>
          <a:xfrm>
            <a:off x="334963" y="908050"/>
            <a:ext cx="11522075" cy="5762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  <a:spcBef>
                <a:spcPts val="0"/>
              </a:spcBef>
              <a:buClr>
                <a:srgbClr val="7F7F7F"/>
              </a:buClr>
              <a:buSzPts val="2800"/>
              <a:buFont typeface="Avenir"/>
              <a:buNone/>
            </a:pPr>
            <a:r>
              <a:rPr lang="de-DE" sz="2400">
                <a:solidFill>
                  <a:srgbClr val="002060"/>
                </a:solidFill>
                <a:latin typeface="Open Sans" panose="020B0606030504020204"/>
                <a:ea typeface="Open Sans" panose="020B0606030504020204" pitchFamily="34" charset="0"/>
                <a:cs typeface="Arial" panose="020B0604020202020204" pitchFamily="34" charset="0"/>
                <a:sym typeface="Avenir"/>
              </a:rPr>
              <a:t>Auswahl unserer Partner der letzten Jahre </a:t>
            </a:r>
            <a:endParaRPr lang="de-DE" sz="2400">
              <a:solidFill>
                <a:srgbClr val="FF0000"/>
              </a:solidFill>
              <a:latin typeface="Open Sans" panose="020B0606030504020204"/>
              <a:ea typeface="Open Sans" panose="020B0606030504020204" pitchFamily="34" charset="0"/>
              <a:cs typeface="Arial" panose="020B0604020202020204" pitchFamily="34" charset="0"/>
              <a:sym typeface="Avenir"/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0" y="6564702"/>
            <a:ext cx="12192000" cy="2932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												                | 8</a:t>
            </a:r>
          </a:p>
        </p:txBody>
      </p:sp>
      <p:pic>
        <p:nvPicPr>
          <p:cNvPr id="38" name="Google Shape;143;p9">
            <a:extLst>
              <a:ext uri="{FF2B5EF4-FFF2-40B4-BE49-F238E27FC236}">
                <a16:creationId xmlns:a16="http://schemas.microsoft.com/office/drawing/2014/main" id="{8FC804EB-A166-DF4E-92CC-F12CBA3D05DC}"/>
              </a:ext>
            </a:extLst>
          </p:cNvPr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376" y="3157236"/>
            <a:ext cx="655628" cy="450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154;p9">
            <a:extLst>
              <a:ext uri="{FF2B5EF4-FFF2-40B4-BE49-F238E27FC236}">
                <a16:creationId xmlns:a16="http://schemas.microsoft.com/office/drawing/2014/main" id="{A82A8828-4D5A-3B47-BEFC-80B56042A944}"/>
              </a:ext>
            </a:extLst>
          </p:cNvPr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7569" y="3208959"/>
            <a:ext cx="984172" cy="356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Google Shape;157;p9">
            <a:extLst>
              <a:ext uri="{FF2B5EF4-FFF2-40B4-BE49-F238E27FC236}">
                <a16:creationId xmlns:a16="http://schemas.microsoft.com/office/drawing/2014/main" id="{5CD834C6-38E0-2E45-8899-864212BBD54B}"/>
              </a:ext>
            </a:extLst>
          </p:cNvPr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4829" y="3209893"/>
            <a:ext cx="861566" cy="354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168;p9">
            <a:extLst>
              <a:ext uri="{FF2B5EF4-FFF2-40B4-BE49-F238E27FC236}">
                <a16:creationId xmlns:a16="http://schemas.microsoft.com/office/drawing/2014/main" id="{7DB7EB3D-3C52-794E-95C0-75F64955625B}"/>
              </a:ext>
            </a:extLst>
          </p:cNvPr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2797" y="2152198"/>
            <a:ext cx="1268559" cy="381477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Google Shape;172;p9">
            <a:extLst>
              <a:ext uri="{FF2B5EF4-FFF2-40B4-BE49-F238E27FC236}">
                <a16:creationId xmlns:a16="http://schemas.microsoft.com/office/drawing/2014/main" id="{ECE3F437-0293-574C-BE69-15A62B402C41}"/>
              </a:ext>
            </a:extLst>
          </p:cNvPr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896" y="2214878"/>
            <a:ext cx="1180915" cy="440336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Google Shape;174;p9">
            <a:extLst>
              <a:ext uri="{FF2B5EF4-FFF2-40B4-BE49-F238E27FC236}">
                <a16:creationId xmlns:a16="http://schemas.microsoft.com/office/drawing/2014/main" id="{0A0A0164-5A2F-8E4E-9EA8-D46F3A89946D}"/>
              </a:ext>
            </a:extLst>
          </p:cNvPr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1773" y="3154218"/>
            <a:ext cx="644429" cy="46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Google Shape;176;p9" descr="https://www.allianz.com/v_1341145622000/media/press/media_database/allianz_logo.jpg">
            <a:extLst>
              <a:ext uri="{FF2B5EF4-FFF2-40B4-BE49-F238E27FC236}">
                <a16:creationId xmlns:a16="http://schemas.microsoft.com/office/drawing/2014/main" id="{59A5C689-9D4A-CC4A-B886-4CE9A61826AB}"/>
              </a:ext>
            </a:extLst>
          </p:cNvPr>
          <p:cNvPicPr preferRelativeResize="0"/>
          <p:nvPr/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20558" y="1629161"/>
            <a:ext cx="1306509" cy="284767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133;p9">
            <a:extLst>
              <a:ext uri="{FF2B5EF4-FFF2-40B4-BE49-F238E27FC236}">
                <a16:creationId xmlns:a16="http://schemas.microsoft.com/office/drawing/2014/main" id="{F6D47432-DBC6-DF4D-996A-F48EA8D7D1E1}"/>
              </a:ext>
            </a:extLst>
          </p:cNvPr>
          <p:cNvPicPr preferRelativeResize="0"/>
          <p:nvPr/>
        </p:nvPicPr>
        <p:blipFill rotWithShape="1">
          <a:blip r:embed="rId1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1012" y="2173055"/>
            <a:ext cx="602045" cy="339764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135;p9" descr="http://www.pf.nl/wp-content/uploads/2011/10/logo-fujifilm.jpg">
            <a:extLst>
              <a:ext uri="{FF2B5EF4-FFF2-40B4-BE49-F238E27FC236}">
                <a16:creationId xmlns:a16="http://schemas.microsoft.com/office/drawing/2014/main" id="{887C1736-0E73-AD44-BBAB-60C88A5CAC6C}"/>
              </a:ext>
            </a:extLst>
          </p:cNvPr>
          <p:cNvPicPr preferRelativeResize="0"/>
          <p:nvPr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3391" y="2199486"/>
            <a:ext cx="1029072" cy="286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160;p9">
            <a:extLst>
              <a:ext uri="{FF2B5EF4-FFF2-40B4-BE49-F238E27FC236}">
                <a16:creationId xmlns:a16="http://schemas.microsoft.com/office/drawing/2014/main" id="{942EFA1D-24EC-854F-8828-6969C2D4E5DA}"/>
              </a:ext>
            </a:extLst>
          </p:cNvPr>
          <p:cNvPicPr preferRelativeResize="0"/>
          <p:nvPr/>
        </p:nvPicPr>
        <p:blipFill rotWithShape="1">
          <a:blip r:embed="rId1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347" y="3180340"/>
            <a:ext cx="540307" cy="413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Google Shape;164;p9" descr="https://upload.wikimedia.org/wikipedia/commons/thumb/e/eb/Celesio-Logo.svg/2000px-Celesio-Logo.svg.png">
            <a:extLst>
              <a:ext uri="{FF2B5EF4-FFF2-40B4-BE49-F238E27FC236}">
                <a16:creationId xmlns:a16="http://schemas.microsoft.com/office/drawing/2014/main" id="{40DF9FFE-73F6-1646-A368-7C059EEBD5A7}"/>
              </a:ext>
            </a:extLst>
          </p:cNvPr>
          <p:cNvPicPr preferRelativeResize="0"/>
          <p:nvPr/>
        </p:nvPicPr>
        <p:blipFill rotWithShape="1">
          <a:blip r:embed="rId1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4068" y="3706192"/>
            <a:ext cx="880944" cy="228646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184;p9" descr="http://parktheatre.co.uk/media/images/BC_Partners_Logo_RGB.GIF">
            <a:extLst>
              <a:ext uri="{FF2B5EF4-FFF2-40B4-BE49-F238E27FC236}">
                <a16:creationId xmlns:a16="http://schemas.microsoft.com/office/drawing/2014/main" id="{A5BAD6F8-E39F-304A-9B81-0C9A4E9F58D0}"/>
              </a:ext>
            </a:extLst>
          </p:cNvPr>
          <p:cNvPicPr preferRelativeResize="0"/>
          <p:nvPr/>
        </p:nvPicPr>
        <p:blipFill rotWithShape="1">
          <a:blip r:embed="rId1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0816" y="1794551"/>
            <a:ext cx="1235512" cy="1759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Picture 18">
            <a:extLst>
              <a:ext uri="{FF2B5EF4-FFF2-40B4-BE49-F238E27FC236}">
                <a16:creationId xmlns:a16="http://schemas.microsoft.com/office/drawing/2014/main" id="{B1B0B8F0-3254-9749-AF51-A26BDE136AFF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51" y="1612962"/>
            <a:ext cx="601304" cy="551297"/>
          </a:xfrm>
          <a:prstGeom prst="rect">
            <a:avLst/>
          </a:prstGeom>
        </p:spPr>
      </p:pic>
      <p:pic>
        <p:nvPicPr>
          <p:cNvPr id="82" name="Picture 1">
            <a:extLst>
              <a:ext uri="{FF2B5EF4-FFF2-40B4-BE49-F238E27FC236}">
                <a16:creationId xmlns:a16="http://schemas.microsoft.com/office/drawing/2014/main" id="{47873C24-1924-A343-9519-D430D5159FA4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915" y="3157236"/>
            <a:ext cx="457685" cy="459738"/>
          </a:xfrm>
          <a:prstGeom prst="rect">
            <a:avLst/>
          </a:prstGeom>
        </p:spPr>
      </p:pic>
      <p:pic>
        <p:nvPicPr>
          <p:cNvPr id="84" name="Picture 7">
            <a:extLst>
              <a:ext uri="{FF2B5EF4-FFF2-40B4-BE49-F238E27FC236}">
                <a16:creationId xmlns:a16="http://schemas.microsoft.com/office/drawing/2014/main" id="{527C7D52-259E-DA40-B9FF-D38D85E63154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5450" y="4699808"/>
            <a:ext cx="1452453" cy="290036"/>
          </a:xfrm>
          <a:prstGeom prst="rect">
            <a:avLst/>
          </a:prstGeom>
        </p:spPr>
      </p:pic>
      <p:pic>
        <p:nvPicPr>
          <p:cNvPr id="85" name="Picture 8">
            <a:extLst>
              <a:ext uri="{FF2B5EF4-FFF2-40B4-BE49-F238E27FC236}">
                <a16:creationId xmlns:a16="http://schemas.microsoft.com/office/drawing/2014/main" id="{20488F14-2225-864C-9087-8AA7A761679F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6723" y="3791293"/>
            <a:ext cx="1598927" cy="245620"/>
          </a:xfrm>
          <a:prstGeom prst="rect">
            <a:avLst/>
          </a:prstGeom>
        </p:spPr>
      </p:pic>
      <p:pic>
        <p:nvPicPr>
          <p:cNvPr id="86" name="Picture 10">
            <a:extLst>
              <a:ext uri="{FF2B5EF4-FFF2-40B4-BE49-F238E27FC236}">
                <a16:creationId xmlns:a16="http://schemas.microsoft.com/office/drawing/2014/main" id="{5CEA9014-B284-F64D-BE10-84B4FDC357D0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0372" y="3256150"/>
            <a:ext cx="831006" cy="432453"/>
          </a:xfrm>
          <a:prstGeom prst="rect">
            <a:avLst/>
          </a:prstGeom>
        </p:spPr>
      </p:pic>
      <p:pic>
        <p:nvPicPr>
          <p:cNvPr id="87" name="Google Shape;165;p9">
            <a:extLst>
              <a:ext uri="{FF2B5EF4-FFF2-40B4-BE49-F238E27FC236}">
                <a16:creationId xmlns:a16="http://schemas.microsoft.com/office/drawing/2014/main" id="{8E2D235A-F57A-DA45-A1B7-A6EA154B12F6}"/>
              </a:ext>
            </a:extLst>
          </p:cNvPr>
          <p:cNvPicPr preferRelativeResize="0"/>
          <p:nvPr/>
        </p:nvPicPr>
        <p:blipFill rotWithShape="1">
          <a:blip r:embed="rId2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6343" y="3216571"/>
            <a:ext cx="758880" cy="3410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Picture 12">
            <a:extLst>
              <a:ext uri="{FF2B5EF4-FFF2-40B4-BE49-F238E27FC236}">
                <a16:creationId xmlns:a16="http://schemas.microsoft.com/office/drawing/2014/main" id="{C38D24E3-785F-A448-B122-F46BAD4B6B9E}"/>
              </a:ext>
            </a:extLst>
          </p:cNvPr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2606" y="3285202"/>
            <a:ext cx="460315" cy="462430"/>
          </a:xfrm>
          <a:prstGeom prst="rect">
            <a:avLst/>
          </a:prstGeom>
        </p:spPr>
      </p:pic>
      <p:pic>
        <p:nvPicPr>
          <p:cNvPr id="89" name="Picture 13">
            <a:extLst>
              <a:ext uri="{FF2B5EF4-FFF2-40B4-BE49-F238E27FC236}">
                <a16:creationId xmlns:a16="http://schemas.microsoft.com/office/drawing/2014/main" id="{5AB765CD-00B4-894D-8E3D-C4EDB578E988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34248" y="3063873"/>
            <a:ext cx="677320" cy="425931"/>
          </a:xfrm>
          <a:prstGeom prst="rect">
            <a:avLst/>
          </a:prstGeom>
        </p:spPr>
      </p:pic>
      <p:pic>
        <p:nvPicPr>
          <p:cNvPr id="90" name="Picture 24">
            <a:extLst>
              <a:ext uri="{FF2B5EF4-FFF2-40B4-BE49-F238E27FC236}">
                <a16:creationId xmlns:a16="http://schemas.microsoft.com/office/drawing/2014/main" id="{B66A810A-62AF-BA4F-94B7-6937597CDFC6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2367" y="2124301"/>
            <a:ext cx="663638" cy="437271"/>
          </a:xfrm>
          <a:prstGeom prst="rect">
            <a:avLst/>
          </a:prstGeom>
        </p:spPr>
      </p:pic>
      <p:pic>
        <p:nvPicPr>
          <p:cNvPr id="91" name="Google Shape;186;p9">
            <a:extLst>
              <a:ext uri="{FF2B5EF4-FFF2-40B4-BE49-F238E27FC236}">
                <a16:creationId xmlns:a16="http://schemas.microsoft.com/office/drawing/2014/main" id="{7CD06CF6-69C8-8445-99A8-596B3FF2A78C}"/>
              </a:ext>
            </a:extLst>
          </p:cNvPr>
          <p:cNvPicPr preferRelativeResize="0"/>
          <p:nvPr/>
        </p:nvPicPr>
        <p:blipFill rotWithShape="1">
          <a:blip r:embed="rId2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6343" y="2228639"/>
            <a:ext cx="782250" cy="228597"/>
          </a:xfrm>
          <a:prstGeom prst="rect">
            <a:avLst/>
          </a:prstGeom>
          <a:noFill/>
          <a:ln>
            <a:noFill/>
          </a:ln>
        </p:spPr>
      </p:pic>
      <p:pic>
        <p:nvPicPr>
          <p:cNvPr id="92" name="Google Shape;146;p9">
            <a:extLst>
              <a:ext uri="{FF2B5EF4-FFF2-40B4-BE49-F238E27FC236}">
                <a16:creationId xmlns:a16="http://schemas.microsoft.com/office/drawing/2014/main" id="{B848F33D-538D-3247-A184-0B113A19E76F}"/>
              </a:ext>
            </a:extLst>
          </p:cNvPr>
          <p:cNvPicPr preferRelativeResize="0"/>
          <p:nvPr/>
        </p:nvPicPr>
        <p:blipFill rotWithShape="1">
          <a:blip r:embed="rId2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01339" y="2738150"/>
            <a:ext cx="915369" cy="283744"/>
          </a:xfrm>
          <a:prstGeom prst="rect">
            <a:avLst/>
          </a:prstGeom>
          <a:noFill/>
          <a:ln>
            <a:noFill/>
          </a:ln>
        </p:spPr>
      </p:pic>
      <p:pic>
        <p:nvPicPr>
          <p:cNvPr id="93" name="Google Shape;177;p9" descr="http://www.tranam.co.uk/images/categories/3534.jpg">
            <a:extLst>
              <a:ext uri="{FF2B5EF4-FFF2-40B4-BE49-F238E27FC236}">
                <a16:creationId xmlns:a16="http://schemas.microsoft.com/office/drawing/2014/main" id="{E99175BC-8750-294D-A7BA-2842B5B29871}"/>
              </a:ext>
            </a:extLst>
          </p:cNvPr>
          <p:cNvPicPr preferRelativeResize="0"/>
          <p:nvPr/>
        </p:nvPicPr>
        <p:blipFill rotWithShape="1">
          <a:blip r:embed="rId2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4576" y="2766231"/>
            <a:ext cx="871559" cy="226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194;p9">
            <a:extLst>
              <a:ext uri="{FF2B5EF4-FFF2-40B4-BE49-F238E27FC236}">
                <a16:creationId xmlns:a16="http://schemas.microsoft.com/office/drawing/2014/main" id="{ED69127F-5B72-BB4F-BAC6-CA18994900BD}"/>
              </a:ext>
            </a:extLst>
          </p:cNvPr>
          <p:cNvPicPr preferRelativeResize="0"/>
          <p:nvPr/>
        </p:nvPicPr>
        <p:blipFill rotWithShape="1">
          <a:blip r:embed="rId3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6362" y="2380827"/>
            <a:ext cx="593212" cy="428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Google Shape;137;p9">
            <a:extLst>
              <a:ext uri="{FF2B5EF4-FFF2-40B4-BE49-F238E27FC236}">
                <a16:creationId xmlns:a16="http://schemas.microsoft.com/office/drawing/2014/main" id="{485C1B01-72B2-4247-B68C-47D61B2E9B33}"/>
              </a:ext>
            </a:extLst>
          </p:cNvPr>
          <p:cNvPicPr preferRelativeResize="0"/>
          <p:nvPr/>
        </p:nvPicPr>
        <p:blipFill rotWithShape="1">
          <a:blip r:embed="rId3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10837" y="2738907"/>
            <a:ext cx="1103969" cy="2814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6" name="Google Shape;166;p9">
            <a:extLst>
              <a:ext uri="{FF2B5EF4-FFF2-40B4-BE49-F238E27FC236}">
                <a16:creationId xmlns:a16="http://schemas.microsoft.com/office/drawing/2014/main" id="{6CE41082-55FF-E243-9E5E-4D4B97E312D4}"/>
              </a:ext>
            </a:extLst>
          </p:cNvPr>
          <p:cNvPicPr preferRelativeResize="0"/>
          <p:nvPr/>
        </p:nvPicPr>
        <p:blipFill rotWithShape="1">
          <a:blip r:embed="rId3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2428" y="2745552"/>
            <a:ext cx="934608" cy="268206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187;p9">
            <a:extLst>
              <a:ext uri="{FF2B5EF4-FFF2-40B4-BE49-F238E27FC236}">
                <a16:creationId xmlns:a16="http://schemas.microsoft.com/office/drawing/2014/main" id="{7351213D-7066-BF46-A368-10CBC7442CE1}"/>
              </a:ext>
            </a:extLst>
          </p:cNvPr>
          <p:cNvPicPr preferRelativeResize="0"/>
          <p:nvPr/>
        </p:nvPicPr>
        <p:blipFill rotWithShape="1">
          <a:blip r:embed="rId3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4306" y="2726014"/>
            <a:ext cx="1036165" cy="304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98" name="Picture 128">
            <a:extLst>
              <a:ext uri="{FF2B5EF4-FFF2-40B4-BE49-F238E27FC236}">
                <a16:creationId xmlns:a16="http://schemas.microsoft.com/office/drawing/2014/main" id="{D19BF55A-E39B-874C-AA02-CD7E9A0B9854}"/>
              </a:ext>
            </a:extLst>
          </p:cNvPr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8278" y="5351506"/>
            <a:ext cx="1243110" cy="300888"/>
          </a:xfrm>
          <a:prstGeom prst="rect">
            <a:avLst/>
          </a:prstGeom>
        </p:spPr>
      </p:pic>
      <p:pic>
        <p:nvPicPr>
          <p:cNvPr id="99" name="Picture 129">
            <a:extLst>
              <a:ext uri="{FF2B5EF4-FFF2-40B4-BE49-F238E27FC236}">
                <a16:creationId xmlns:a16="http://schemas.microsoft.com/office/drawing/2014/main" id="{163A30CB-7888-8A4E-934A-B6B898A9F83A}"/>
              </a:ext>
            </a:extLst>
          </p:cNvPr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8760" y="2388551"/>
            <a:ext cx="845311" cy="318271"/>
          </a:xfrm>
          <a:prstGeom prst="rect">
            <a:avLst/>
          </a:prstGeom>
        </p:spPr>
      </p:pic>
      <p:pic>
        <p:nvPicPr>
          <p:cNvPr id="100" name="Google Shape;171;p9" descr="https://upload.wikimedia.org/wikipedia/commons/thumb/6/62/EnBW.svg/1280px-EnBW.svg.png">
            <a:extLst>
              <a:ext uri="{FF2B5EF4-FFF2-40B4-BE49-F238E27FC236}">
                <a16:creationId xmlns:a16="http://schemas.microsoft.com/office/drawing/2014/main" id="{DF877DE8-6D50-1E4E-913C-D81F7974DB12}"/>
              </a:ext>
            </a:extLst>
          </p:cNvPr>
          <p:cNvPicPr preferRelativeResize="0"/>
          <p:nvPr/>
        </p:nvPicPr>
        <p:blipFill rotWithShape="1">
          <a:blip r:embed="rId3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61" y="3757645"/>
            <a:ext cx="1287535" cy="2749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" name="Google Shape;189;p9">
            <a:extLst>
              <a:ext uri="{FF2B5EF4-FFF2-40B4-BE49-F238E27FC236}">
                <a16:creationId xmlns:a16="http://schemas.microsoft.com/office/drawing/2014/main" id="{48EA4E77-EC81-1648-A421-B6364673FC2E}"/>
              </a:ext>
            </a:extLst>
          </p:cNvPr>
          <p:cNvPicPr preferRelativeResize="0"/>
          <p:nvPr/>
        </p:nvPicPr>
        <p:blipFill rotWithShape="1">
          <a:blip r:embed="rId3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1031" y="3759079"/>
            <a:ext cx="1291531" cy="2721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" name="Picture 134">
            <a:extLst>
              <a:ext uri="{FF2B5EF4-FFF2-40B4-BE49-F238E27FC236}">
                <a16:creationId xmlns:a16="http://schemas.microsoft.com/office/drawing/2014/main" id="{32055D8F-9D2C-AD4D-811D-ED96C6C8BC59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7035" y="3775638"/>
            <a:ext cx="1142768" cy="404805"/>
          </a:xfrm>
          <a:prstGeom prst="rect">
            <a:avLst/>
          </a:prstGeom>
        </p:spPr>
      </p:pic>
      <p:pic>
        <p:nvPicPr>
          <p:cNvPr id="105" name="Google Shape;152;p9">
            <a:extLst>
              <a:ext uri="{FF2B5EF4-FFF2-40B4-BE49-F238E27FC236}">
                <a16:creationId xmlns:a16="http://schemas.microsoft.com/office/drawing/2014/main" id="{093A3E09-91DA-E84F-8DFB-5ACE5BE87165}"/>
              </a:ext>
            </a:extLst>
          </p:cNvPr>
          <p:cNvPicPr preferRelativeResize="0"/>
          <p:nvPr/>
        </p:nvPicPr>
        <p:blipFill rotWithShape="1">
          <a:blip r:embed="rId3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30241" y="4246819"/>
            <a:ext cx="699878" cy="331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6" name="Google Shape;169;p9">
            <a:extLst>
              <a:ext uri="{FF2B5EF4-FFF2-40B4-BE49-F238E27FC236}">
                <a16:creationId xmlns:a16="http://schemas.microsoft.com/office/drawing/2014/main" id="{585D689F-B22D-2141-A8C7-83705F9C02EF}"/>
              </a:ext>
            </a:extLst>
          </p:cNvPr>
          <p:cNvPicPr preferRelativeResize="0"/>
          <p:nvPr/>
        </p:nvPicPr>
        <p:blipFill rotWithShape="1">
          <a:blip r:embed="rId4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6886" y="4166385"/>
            <a:ext cx="880943" cy="381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73;p9" descr="Bildergebnis für Osiandersche">
            <a:extLst>
              <a:ext uri="{FF2B5EF4-FFF2-40B4-BE49-F238E27FC236}">
                <a16:creationId xmlns:a16="http://schemas.microsoft.com/office/drawing/2014/main" id="{754970B1-2D5D-B744-A8F7-48963E675B01}"/>
              </a:ext>
            </a:extLst>
          </p:cNvPr>
          <p:cNvPicPr preferRelativeResize="0"/>
          <p:nvPr/>
        </p:nvPicPr>
        <p:blipFill rotWithShape="1">
          <a:blip r:embed="rId4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6833" y="4040052"/>
            <a:ext cx="1440698" cy="3647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79;p9">
            <a:extLst>
              <a:ext uri="{FF2B5EF4-FFF2-40B4-BE49-F238E27FC236}">
                <a16:creationId xmlns:a16="http://schemas.microsoft.com/office/drawing/2014/main" id="{329049AE-2AFB-4646-B9E1-DC752D31E42C}"/>
              </a:ext>
            </a:extLst>
          </p:cNvPr>
          <p:cNvPicPr preferRelativeResize="0"/>
          <p:nvPr/>
        </p:nvPicPr>
        <p:blipFill rotWithShape="1">
          <a:blip r:embed="rId4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4376" y="4208305"/>
            <a:ext cx="1234496" cy="445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Google Shape;139;p9">
            <a:extLst>
              <a:ext uri="{FF2B5EF4-FFF2-40B4-BE49-F238E27FC236}">
                <a16:creationId xmlns:a16="http://schemas.microsoft.com/office/drawing/2014/main" id="{4E1A11C0-35F4-4A46-AD0D-034C42DF8B2C}"/>
              </a:ext>
            </a:extLst>
          </p:cNvPr>
          <p:cNvPicPr preferRelativeResize="0"/>
          <p:nvPr/>
        </p:nvPicPr>
        <p:blipFill rotWithShape="1">
          <a:blip r:embed="rId4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3774" y="4177082"/>
            <a:ext cx="806697" cy="471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" name="Picture 143">
            <a:extLst>
              <a:ext uri="{FF2B5EF4-FFF2-40B4-BE49-F238E27FC236}">
                <a16:creationId xmlns:a16="http://schemas.microsoft.com/office/drawing/2014/main" id="{12991C95-083D-8447-A553-4FB51DE8D0B1}"/>
              </a:ext>
            </a:extLst>
          </p:cNvPr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6639" y="4200127"/>
            <a:ext cx="661191" cy="444550"/>
          </a:xfrm>
          <a:prstGeom prst="rect">
            <a:avLst/>
          </a:prstGeom>
        </p:spPr>
      </p:pic>
      <p:pic>
        <p:nvPicPr>
          <p:cNvPr id="112" name="Google Shape;182;p9">
            <a:extLst>
              <a:ext uri="{FF2B5EF4-FFF2-40B4-BE49-F238E27FC236}">
                <a16:creationId xmlns:a16="http://schemas.microsoft.com/office/drawing/2014/main" id="{50BEADBA-D9FD-7B42-99E1-1D96024292B2}"/>
              </a:ext>
            </a:extLst>
          </p:cNvPr>
          <p:cNvPicPr preferRelativeResize="0"/>
          <p:nvPr/>
        </p:nvPicPr>
        <p:blipFill rotWithShape="1">
          <a:blip r:embed="rId4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997" y="4216868"/>
            <a:ext cx="693196" cy="3914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3" name="Picture 145">
            <a:extLst>
              <a:ext uri="{FF2B5EF4-FFF2-40B4-BE49-F238E27FC236}">
                <a16:creationId xmlns:a16="http://schemas.microsoft.com/office/drawing/2014/main" id="{6D71ACC5-4481-D243-9964-C5C9074730F2}"/>
              </a:ext>
            </a:extLst>
          </p:cNvPr>
          <p:cNvPicPr>
            <a:picLocks noChangeAspect="1"/>
          </p:cNvPicPr>
          <p:nvPr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1114" y="4760140"/>
            <a:ext cx="1126231" cy="246096"/>
          </a:xfrm>
          <a:prstGeom prst="rect">
            <a:avLst/>
          </a:prstGeom>
        </p:spPr>
      </p:pic>
      <p:pic>
        <p:nvPicPr>
          <p:cNvPr id="114" name="Picture 146">
            <a:extLst>
              <a:ext uri="{FF2B5EF4-FFF2-40B4-BE49-F238E27FC236}">
                <a16:creationId xmlns:a16="http://schemas.microsoft.com/office/drawing/2014/main" id="{48FBFE52-21CB-F34A-BAB2-B624DF169312}"/>
              </a:ext>
            </a:extLst>
          </p:cNvPr>
          <p:cNvPicPr>
            <a:picLocks noChangeAspect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8996" y="4801883"/>
            <a:ext cx="1096944" cy="236295"/>
          </a:xfrm>
          <a:prstGeom prst="rect">
            <a:avLst/>
          </a:prstGeom>
        </p:spPr>
      </p:pic>
      <p:pic>
        <p:nvPicPr>
          <p:cNvPr id="116" name="Google Shape;149;p9">
            <a:extLst>
              <a:ext uri="{FF2B5EF4-FFF2-40B4-BE49-F238E27FC236}">
                <a16:creationId xmlns:a16="http://schemas.microsoft.com/office/drawing/2014/main" id="{9025E9A5-2757-C84B-9621-BD048E56DFF4}"/>
              </a:ext>
            </a:extLst>
          </p:cNvPr>
          <p:cNvPicPr preferRelativeResize="0"/>
          <p:nvPr/>
        </p:nvPicPr>
        <p:blipFill rotWithShape="1">
          <a:blip r:embed="rId4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53622" y="5212003"/>
            <a:ext cx="1242588" cy="3035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85;p9">
            <a:extLst>
              <a:ext uri="{FF2B5EF4-FFF2-40B4-BE49-F238E27FC236}">
                <a16:creationId xmlns:a16="http://schemas.microsoft.com/office/drawing/2014/main" id="{D3CCEDF8-4DF6-714C-96C9-D3B0D9E8EA6F}"/>
              </a:ext>
            </a:extLst>
          </p:cNvPr>
          <p:cNvPicPr preferRelativeResize="0"/>
          <p:nvPr/>
        </p:nvPicPr>
        <p:blipFill rotWithShape="1">
          <a:blip r:embed="rId4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7342" y="5288959"/>
            <a:ext cx="1098329" cy="2888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" name="Picture 153">
            <a:extLst>
              <a:ext uri="{FF2B5EF4-FFF2-40B4-BE49-F238E27FC236}">
                <a16:creationId xmlns:a16="http://schemas.microsoft.com/office/drawing/2014/main" id="{DD93DDD3-FE78-2844-A7AE-9228E283E072}"/>
              </a:ext>
            </a:extLst>
          </p:cNvPr>
          <p:cNvPicPr>
            <a:picLocks noChangeAspect="1"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997" y="5414064"/>
            <a:ext cx="544433" cy="483183"/>
          </a:xfrm>
          <a:prstGeom prst="rect">
            <a:avLst/>
          </a:prstGeom>
        </p:spPr>
      </p:pic>
      <p:pic>
        <p:nvPicPr>
          <p:cNvPr id="120" name="Picture 26">
            <a:extLst>
              <a:ext uri="{FF2B5EF4-FFF2-40B4-BE49-F238E27FC236}">
                <a16:creationId xmlns:a16="http://schemas.microsoft.com/office/drawing/2014/main" id="{873C3B52-3BF7-D440-B5C8-AC91017F6CB5}"/>
              </a:ext>
            </a:extLst>
          </p:cNvPr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518" y="1729610"/>
            <a:ext cx="1804752" cy="331263"/>
          </a:xfrm>
          <a:prstGeom prst="rect">
            <a:avLst/>
          </a:prstGeom>
        </p:spPr>
      </p:pic>
      <p:pic>
        <p:nvPicPr>
          <p:cNvPr id="121" name="Picture 31">
            <a:extLst>
              <a:ext uri="{FF2B5EF4-FFF2-40B4-BE49-F238E27FC236}">
                <a16:creationId xmlns:a16="http://schemas.microsoft.com/office/drawing/2014/main" id="{C58AC48F-4CEE-2C4D-BE57-D4BC9EF67678}"/>
              </a:ext>
            </a:extLst>
          </p:cNvPr>
          <p:cNvPicPr>
            <a:picLocks noChangeAspect="1"/>
          </p:cNvPicPr>
          <p:nvPr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169" y="2752338"/>
            <a:ext cx="997907" cy="254634"/>
          </a:xfrm>
          <a:prstGeom prst="rect">
            <a:avLst/>
          </a:prstGeom>
        </p:spPr>
      </p:pic>
      <p:pic>
        <p:nvPicPr>
          <p:cNvPr id="122" name="Google Shape;145;p9">
            <a:extLst>
              <a:ext uri="{FF2B5EF4-FFF2-40B4-BE49-F238E27FC236}">
                <a16:creationId xmlns:a16="http://schemas.microsoft.com/office/drawing/2014/main" id="{CA5720B3-9CEC-2D4E-9E54-FCEB613F83C3}"/>
              </a:ext>
            </a:extLst>
          </p:cNvPr>
          <p:cNvPicPr preferRelativeResize="0"/>
          <p:nvPr/>
        </p:nvPicPr>
        <p:blipFill rotWithShape="1">
          <a:blip r:embed="rId5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60675" y="4630370"/>
            <a:ext cx="810468" cy="420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3" name="Picture 2">
            <a:extLst>
              <a:ext uri="{FF2B5EF4-FFF2-40B4-BE49-F238E27FC236}">
                <a16:creationId xmlns:a16="http://schemas.microsoft.com/office/drawing/2014/main" id="{D8379A2F-B94D-9E43-8F2B-FD66FB9DBEFD}"/>
              </a:ext>
            </a:extLst>
          </p:cNvPr>
          <p:cNvPicPr>
            <a:picLocks noChangeAspect="1"/>
          </p:cNvPicPr>
          <p:nvPr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8171" y="5195363"/>
            <a:ext cx="1333342" cy="285749"/>
          </a:xfrm>
          <a:prstGeom prst="rect">
            <a:avLst/>
          </a:prstGeom>
        </p:spPr>
      </p:pic>
      <p:pic>
        <p:nvPicPr>
          <p:cNvPr id="66" name="Picture 33">
            <a:extLst>
              <a:ext uri="{FF2B5EF4-FFF2-40B4-BE49-F238E27FC236}">
                <a16:creationId xmlns:a16="http://schemas.microsoft.com/office/drawing/2014/main" id="{01F5ECDA-50D5-4EEA-9E5F-23790A17CF31}"/>
              </a:ext>
            </a:extLst>
          </p:cNvPr>
          <p:cNvPicPr>
            <a:picLocks noChangeAspect="1"/>
          </p:cNvPicPr>
          <p:nvPr/>
        </p:nvPicPr>
        <p:blipFill rotWithShape="1">
          <a:blip r:embed="rId55" cstate="email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563" t="42732"/>
          <a:stretch/>
        </p:blipFill>
        <p:spPr>
          <a:xfrm>
            <a:off x="8287666" y="2012756"/>
            <a:ext cx="930193" cy="555354"/>
          </a:xfrm>
          <a:prstGeom prst="rect">
            <a:avLst/>
          </a:prstGeom>
        </p:spPr>
      </p:pic>
      <p:pic>
        <p:nvPicPr>
          <p:cNvPr id="67" name="Picture 31">
            <a:extLst>
              <a:ext uri="{FF2B5EF4-FFF2-40B4-BE49-F238E27FC236}">
                <a16:creationId xmlns:a16="http://schemas.microsoft.com/office/drawing/2014/main" id="{173371BE-1424-46DA-9A84-4E89EA2F2C00}"/>
              </a:ext>
            </a:extLst>
          </p:cNvPr>
          <p:cNvPicPr>
            <a:picLocks noChangeAspect="1"/>
          </p:cNvPicPr>
          <p:nvPr/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354" y="4743567"/>
            <a:ext cx="945890" cy="544392"/>
          </a:xfrm>
          <a:prstGeom prst="rect">
            <a:avLst/>
          </a:prstGeom>
        </p:spPr>
      </p:pic>
      <p:pic>
        <p:nvPicPr>
          <p:cNvPr id="69" name="Picture 37">
            <a:extLst>
              <a:ext uri="{FF2B5EF4-FFF2-40B4-BE49-F238E27FC236}">
                <a16:creationId xmlns:a16="http://schemas.microsoft.com/office/drawing/2014/main" id="{6CB2B749-3A53-482C-9E6D-F72D25DED7F7}"/>
              </a:ext>
            </a:extLst>
          </p:cNvPr>
          <p:cNvPicPr>
            <a:picLocks noChangeAspect="1"/>
          </p:cNvPicPr>
          <p:nvPr/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8732" y="5409381"/>
            <a:ext cx="1923434" cy="209500"/>
          </a:xfrm>
          <a:prstGeom prst="rect">
            <a:avLst/>
          </a:prstGeom>
        </p:spPr>
      </p:pic>
      <p:pic>
        <p:nvPicPr>
          <p:cNvPr id="70" name="Picture 23">
            <a:extLst>
              <a:ext uri="{FF2B5EF4-FFF2-40B4-BE49-F238E27FC236}">
                <a16:creationId xmlns:a16="http://schemas.microsoft.com/office/drawing/2014/main" id="{1B277CB0-3031-4525-986D-4461B25A4488}"/>
              </a:ext>
            </a:extLst>
          </p:cNvPr>
          <p:cNvPicPr>
            <a:picLocks noChangeAspect="1"/>
          </p:cNvPicPr>
          <p:nvPr/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47" y="4921360"/>
            <a:ext cx="1144898" cy="421247"/>
          </a:xfrm>
          <a:prstGeom prst="rect">
            <a:avLst/>
          </a:prstGeom>
          <a:ln>
            <a:noFill/>
          </a:ln>
        </p:spPr>
      </p:pic>
      <p:pic>
        <p:nvPicPr>
          <p:cNvPr id="71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48267242-88EF-4069-B395-5E60B9FCAE5D}"/>
              </a:ext>
            </a:extLst>
          </p:cNvPr>
          <p:cNvPicPr>
            <a:picLocks noChangeAspect="1"/>
          </p:cNvPicPr>
          <p:nvPr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6638" y="1776128"/>
            <a:ext cx="972977" cy="225620"/>
          </a:xfrm>
          <a:prstGeom prst="rect">
            <a:avLst/>
          </a:prstGeom>
        </p:spPr>
      </p:pic>
      <p:pic>
        <p:nvPicPr>
          <p:cNvPr id="74" name="Picture 20">
            <a:extLst>
              <a:ext uri="{FF2B5EF4-FFF2-40B4-BE49-F238E27FC236}">
                <a16:creationId xmlns:a16="http://schemas.microsoft.com/office/drawing/2014/main" id="{1565EC64-BE43-4390-A1BB-E70FE1455FF5}"/>
              </a:ext>
            </a:extLst>
          </p:cNvPr>
          <p:cNvPicPr>
            <a:picLocks noChangeAspect="1"/>
          </p:cNvPicPr>
          <p:nvPr/>
        </p:nvPicPr>
        <p:blipFill>
          <a:blip r:embed="rId6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241" y="5888486"/>
            <a:ext cx="851002" cy="229083"/>
          </a:xfrm>
          <a:prstGeom prst="rect">
            <a:avLst/>
          </a:prstGeom>
        </p:spPr>
      </p:pic>
      <p:pic>
        <p:nvPicPr>
          <p:cNvPr id="124" name="Picture 36">
            <a:extLst>
              <a:ext uri="{FF2B5EF4-FFF2-40B4-BE49-F238E27FC236}">
                <a16:creationId xmlns:a16="http://schemas.microsoft.com/office/drawing/2014/main" id="{73FFDEC8-3D53-4280-8DCD-C19D322008F8}"/>
              </a:ext>
            </a:extLst>
          </p:cNvPr>
          <p:cNvPicPr>
            <a:picLocks noChangeAspect="1"/>
          </p:cNvPicPr>
          <p:nvPr/>
        </p:nvPicPr>
        <p:blipFill>
          <a:blip r:embed="rId6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4906" y="2907635"/>
            <a:ext cx="935582" cy="317864"/>
          </a:xfrm>
          <a:prstGeom prst="rect">
            <a:avLst/>
          </a:prstGeom>
          <a:ln>
            <a:noFill/>
          </a:ln>
        </p:spPr>
      </p:pic>
      <p:pic>
        <p:nvPicPr>
          <p:cNvPr id="125" name="Picture 22">
            <a:extLst>
              <a:ext uri="{FF2B5EF4-FFF2-40B4-BE49-F238E27FC236}">
                <a16:creationId xmlns:a16="http://schemas.microsoft.com/office/drawing/2014/main" id="{019FF60B-9F2A-4BC5-B2FD-66E96AAEB310}"/>
              </a:ext>
            </a:extLst>
          </p:cNvPr>
          <p:cNvPicPr>
            <a:picLocks noChangeAspect="1"/>
          </p:cNvPicPr>
          <p:nvPr/>
        </p:nvPicPr>
        <p:blipFill>
          <a:blip r:embed="rId6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2921" y="3713004"/>
            <a:ext cx="944006" cy="675031"/>
          </a:xfrm>
          <a:prstGeom prst="rect">
            <a:avLst/>
          </a:prstGeom>
        </p:spPr>
      </p:pic>
      <p:pic>
        <p:nvPicPr>
          <p:cNvPr id="126" name="Picture 39">
            <a:extLst>
              <a:ext uri="{FF2B5EF4-FFF2-40B4-BE49-F238E27FC236}">
                <a16:creationId xmlns:a16="http://schemas.microsoft.com/office/drawing/2014/main" id="{0C0B53CE-9CE0-47E2-B033-CE224A0E3E76}"/>
              </a:ext>
            </a:extLst>
          </p:cNvPr>
          <p:cNvPicPr>
            <a:picLocks noChangeAspect="1"/>
          </p:cNvPicPr>
          <p:nvPr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632" y="5323996"/>
            <a:ext cx="518617" cy="523035"/>
          </a:xfrm>
          <a:prstGeom prst="rect">
            <a:avLst/>
          </a:prstGeom>
        </p:spPr>
      </p:pic>
      <p:pic>
        <p:nvPicPr>
          <p:cNvPr id="127" name="Picture 30">
            <a:extLst>
              <a:ext uri="{FF2B5EF4-FFF2-40B4-BE49-F238E27FC236}">
                <a16:creationId xmlns:a16="http://schemas.microsoft.com/office/drawing/2014/main" id="{DACBB9F4-87AB-41B3-BF8F-9002A3AA9D5A}"/>
              </a:ext>
            </a:extLst>
          </p:cNvPr>
          <p:cNvPicPr>
            <a:picLocks noChangeAspect="1"/>
          </p:cNvPicPr>
          <p:nvPr/>
        </p:nvPicPr>
        <p:blipFill rotWithShape="1">
          <a:blip r:embed="rId6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960" t="-23869" r="-25137" b="-20872"/>
          <a:stretch/>
        </p:blipFill>
        <p:spPr>
          <a:xfrm>
            <a:off x="6304934" y="1247409"/>
            <a:ext cx="2372739" cy="1150038"/>
          </a:xfrm>
          <a:prstGeom prst="flowChartDecision">
            <a:avLst/>
          </a:prstGeom>
          <a:ln>
            <a:noFill/>
          </a:ln>
        </p:spPr>
      </p:pic>
      <p:pic>
        <p:nvPicPr>
          <p:cNvPr id="128" name="Google Shape;193;p9">
            <a:extLst>
              <a:ext uri="{FF2B5EF4-FFF2-40B4-BE49-F238E27FC236}">
                <a16:creationId xmlns:a16="http://schemas.microsoft.com/office/drawing/2014/main" id="{29B39B17-733D-4A90-A19D-A3331A4766F9}"/>
              </a:ext>
            </a:extLst>
          </p:cNvPr>
          <p:cNvPicPr preferRelativeResize="0"/>
          <p:nvPr/>
        </p:nvPicPr>
        <p:blipFill rotWithShape="1">
          <a:blip r:embed="rId6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288" y="5994683"/>
            <a:ext cx="1025082" cy="262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Picture 24">
            <a:extLst>
              <a:ext uri="{FF2B5EF4-FFF2-40B4-BE49-F238E27FC236}">
                <a16:creationId xmlns:a16="http://schemas.microsoft.com/office/drawing/2014/main" id="{DBEEAA3D-3FEB-4E0B-AE4B-858EAB4976B0}"/>
              </a:ext>
            </a:extLst>
          </p:cNvPr>
          <p:cNvPicPr>
            <a:picLocks noChangeAspect="1"/>
          </p:cNvPicPr>
          <p:nvPr/>
        </p:nvPicPr>
        <p:blipFill rotWithShape="1"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7569" y="5919882"/>
            <a:ext cx="1446298" cy="361270"/>
          </a:xfrm>
          <a:prstGeom prst="rect">
            <a:avLst/>
          </a:prstGeom>
          <a:ln>
            <a:noFill/>
          </a:ln>
        </p:spPr>
      </p:pic>
      <p:pic>
        <p:nvPicPr>
          <p:cNvPr id="131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538E384B-FBE4-471F-8CF8-DB872AEBA2BD}"/>
              </a:ext>
            </a:extLst>
          </p:cNvPr>
          <p:cNvPicPr>
            <a:picLocks noChangeAspect="1"/>
          </p:cNvPicPr>
          <p:nvPr/>
        </p:nvPicPr>
        <p:blipFill rotWithShape="1"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7999" y="5559492"/>
            <a:ext cx="758880" cy="447462"/>
          </a:xfrm>
          <a:prstGeom prst="rect">
            <a:avLst/>
          </a:prstGeom>
        </p:spPr>
      </p:pic>
      <p:pic>
        <p:nvPicPr>
          <p:cNvPr id="5" name="Picture 75">
            <a:extLst>
              <a:ext uri="{FF2B5EF4-FFF2-40B4-BE49-F238E27FC236}">
                <a16:creationId xmlns:a16="http://schemas.microsoft.com/office/drawing/2014/main" id="{C573A0D9-BC95-4715-B6FC-DC3C2BEE65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70825" y="3528330"/>
            <a:ext cx="893690" cy="230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5">
            <a:extLst>
              <a:ext uri="{FF2B5EF4-FFF2-40B4-BE49-F238E27FC236}">
                <a16:creationId xmlns:a16="http://schemas.microsoft.com/office/drawing/2014/main" id="{FA188D3D-7753-47DC-9694-A39E4FA03F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3317" y="3791293"/>
            <a:ext cx="888849" cy="37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5">
            <a:extLst>
              <a:ext uri="{FF2B5EF4-FFF2-40B4-BE49-F238E27FC236}">
                <a16:creationId xmlns:a16="http://schemas.microsoft.com/office/drawing/2014/main" id="{B05B4A5A-7850-40B7-8C94-75EEFC1B78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78183" y="4150399"/>
            <a:ext cx="1021432" cy="410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5">
            <a:extLst>
              <a:ext uri="{FF2B5EF4-FFF2-40B4-BE49-F238E27FC236}">
                <a16:creationId xmlns:a16="http://schemas.microsoft.com/office/drawing/2014/main" id="{AA8F755F-7388-4FD9-87F6-49D7B19422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23124" y="5789544"/>
            <a:ext cx="567063" cy="421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75">
            <a:extLst>
              <a:ext uri="{FF2B5EF4-FFF2-40B4-BE49-F238E27FC236}">
                <a16:creationId xmlns:a16="http://schemas.microsoft.com/office/drawing/2014/main" id="{BFC76656-A897-42CC-A0E2-92F050509F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9062" y="5802143"/>
            <a:ext cx="591373" cy="47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5">
            <a:extLst>
              <a:ext uri="{FF2B5EF4-FFF2-40B4-BE49-F238E27FC236}">
                <a16:creationId xmlns:a16="http://schemas.microsoft.com/office/drawing/2014/main" id="{80CF2C9F-9FF9-42B2-AFF8-C6BF48BFF7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45849" y="5819016"/>
            <a:ext cx="801770" cy="555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5">
            <a:extLst>
              <a:ext uri="{FF2B5EF4-FFF2-40B4-BE49-F238E27FC236}">
                <a16:creationId xmlns:a16="http://schemas.microsoft.com/office/drawing/2014/main" id="{498A9773-6391-49EA-A6D7-9BF3FA45EA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6009" y="5819016"/>
            <a:ext cx="1188535" cy="50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5">
            <a:extLst>
              <a:ext uri="{FF2B5EF4-FFF2-40B4-BE49-F238E27FC236}">
                <a16:creationId xmlns:a16="http://schemas.microsoft.com/office/drawing/2014/main" id="{4060FA1E-B18A-460E-8D43-952AD7113D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20524" y="4766628"/>
            <a:ext cx="1075334" cy="359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75">
            <a:extLst>
              <a:ext uri="{FF2B5EF4-FFF2-40B4-BE49-F238E27FC236}">
                <a16:creationId xmlns:a16="http://schemas.microsoft.com/office/drawing/2014/main" id="{AEA3AC4F-8505-4612-A247-0B525B19BC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81067" y="4917746"/>
            <a:ext cx="845311" cy="61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75">
            <a:extLst>
              <a:ext uri="{FF2B5EF4-FFF2-40B4-BE49-F238E27FC236}">
                <a16:creationId xmlns:a16="http://schemas.microsoft.com/office/drawing/2014/main" id="{1D8C79A7-EAAA-43D9-8B84-2D408B0B14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37365" y="5804791"/>
            <a:ext cx="750465" cy="396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5">
            <a:extLst>
              <a:ext uri="{FF2B5EF4-FFF2-40B4-BE49-F238E27FC236}">
                <a16:creationId xmlns:a16="http://schemas.microsoft.com/office/drawing/2014/main" id="{C783C4FA-D073-4DFA-8DC8-BF7FD173B8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67496" y="5786992"/>
            <a:ext cx="648663" cy="397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5">
            <a:extLst>
              <a:ext uri="{FF2B5EF4-FFF2-40B4-BE49-F238E27FC236}">
                <a16:creationId xmlns:a16="http://schemas.microsoft.com/office/drawing/2014/main" id="{5F25CC52-82AC-428B-99A8-99C20D1B2B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43661" y="2609343"/>
            <a:ext cx="888351" cy="420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75">
            <a:extLst>
              <a:ext uri="{FF2B5EF4-FFF2-40B4-BE49-F238E27FC236}">
                <a16:creationId xmlns:a16="http://schemas.microsoft.com/office/drawing/2014/main" id="{9F7C5011-E223-452E-B4D7-258BDB0D48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87830" y="1469704"/>
            <a:ext cx="1359782" cy="708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5">
            <a:extLst>
              <a:ext uri="{FF2B5EF4-FFF2-40B4-BE49-F238E27FC236}">
                <a16:creationId xmlns:a16="http://schemas.microsoft.com/office/drawing/2014/main" id="{B819CBCA-6352-4039-9793-7408E734D4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24136" y="5322801"/>
            <a:ext cx="791622" cy="536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5">
            <a:extLst>
              <a:ext uri="{FF2B5EF4-FFF2-40B4-BE49-F238E27FC236}">
                <a16:creationId xmlns:a16="http://schemas.microsoft.com/office/drawing/2014/main" id="{D6A99C1D-A7EC-43DD-ADA2-A41DADE345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1562" y="4948879"/>
            <a:ext cx="1453617" cy="32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C4B11EED-2F4D-694A-9FD0-725D6552E869}"/>
              </a:ext>
            </a:extLst>
          </p:cNvPr>
          <p:cNvGrpSpPr/>
          <p:nvPr/>
        </p:nvGrpSpPr>
        <p:grpSpPr>
          <a:xfrm>
            <a:off x="334962" y="136037"/>
            <a:ext cx="1593757" cy="567423"/>
            <a:chOff x="2431488" y="164040"/>
            <a:chExt cx="1593757" cy="567423"/>
          </a:xfrm>
        </p:grpSpPr>
        <p:pic>
          <p:nvPicPr>
            <p:cNvPr id="109" name="Grafik 108">
              <a:extLst>
                <a:ext uri="{FF2B5EF4-FFF2-40B4-BE49-F238E27FC236}">
                  <a16:creationId xmlns:a16="http://schemas.microsoft.com/office/drawing/2014/main" id="{AF2224E0-8CB8-0C44-8709-F0890AD26D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1132"/>
            <a:stretch/>
          </p:blipFill>
          <p:spPr>
            <a:xfrm>
              <a:off x="2431488" y="164040"/>
              <a:ext cx="556809" cy="567423"/>
            </a:xfrm>
            <a:prstGeom prst="rect">
              <a:avLst/>
            </a:prstGeom>
            <a:blipFill>
              <a:blip r:embed="rId84"/>
              <a:tile tx="0" ty="0" sx="100000" sy="100000" flip="none" algn="tl"/>
            </a:blipFill>
          </p:spPr>
        </p:pic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1BD7BF52-1A03-1F43-A9D6-5565A03DC2DB}"/>
                </a:ext>
              </a:extLst>
            </p:cNvPr>
            <p:cNvSpPr txBox="1"/>
            <p:nvPr/>
          </p:nvSpPr>
          <p:spPr>
            <a:xfrm>
              <a:off x="2988297" y="237048"/>
              <a:ext cx="1036948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ESB Cycling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for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</a:t>
              </a:r>
              <a:r>
                <a:rPr lang="de-DE" sz="1000" dirty="0" err="1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Charity</a:t>
              </a:r>
              <a:r>
                <a:rPr lang="de-DE" sz="1000" dirty="0">
                  <a:solidFill>
                    <a:srgbClr val="002060"/>
                  </a:solidFill>
                  <a:ea typeface="Open Sans"/>
                  <a:cs typeface="Arial"/>
                  <a:sym typeface="Avenir"/>
                </a:rPr>
                <a:t> 2022/23</a:t>
              </a:r>
              <a:endParaRPr lang="de-DE" sz="1000" dirty="0"/>
            </a:p>
          </p:txBody>
        </p:sp>
      </p:grpSp>
      <p:pic>
        <p:nvPicPr>
          <p:cNvPr id="118" name="Grafik 1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6F6C4668-5218-2346-A887-FB4CA96301C3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099" y="193537"/>
            <a:ext cx="914419" cy="48489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F953262A-9211-694D-87C2-93989D00E158}"/>
              </a:ext>
            </a:extLst>
          </p:cNvPr>
          <p:cNvPicPr>
            <a:picLocks noChangeAspect="1"/>
          </p:cNvPicPr>
          <p:nvPr/>
        </p:nvPicPr>
        <p:blipFill rotWithShape="1"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90" b="22501"/>
          <a:stretch/>
        </p:blipFill>
        <p:spPr>
          <a:xfrm>
            <a:off x="7563417" y="4433232"/>
            <a:ext cx="740354" cy="43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529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Fv6Qduk.d6AJZjuHAH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3CF047FF7A0CF42B1EEC4A2134CEEB8" ma:contentTypeVersion="4" ma:contentTypeDescription="Ein neues Dokument erstellen." ma:contentTypeScope="" ma:versionID="df551c52b443a35b0887cdaed1eae3b4">
  <xsd:schema xmlns:xsd="http://www.w3.org/2001/XMLSchema" xmlns:xs="http://www.w3.org/2001/XMLSchema" xmlns:p="http://schemas.microsoft.com/office/2006/metadata/properties" xmlns:ns2="bcbe4fbc-b83f-4532-9dfa-51c8e0abc8c0" xmlns:ns3="2e414018-f3d4-4a42-8b29-899b09e17ac8" targetNamespace="http://schemas.microsoft.com/office/2006/metadata/properties" ma:root="true" ma:fieldsID="201a01773ad3cf2b7ecc66882d6d238a" ns2:_="" ns3:_="">
    <xsd:import namespace="bcbe4fbc-b83f-4532-9dfa-51c8e0abc8c0"/>
    <xsd:import namespace="2e414018-f3d4-4a42-8b29-899b09e17a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e4fbc-b83f-4532-9dfa-51c8e0abc8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14018-f3d4-4a42-8b29-899b09e17ac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0F4C69-69B6-49E3-A9AE-B5D2E835137B}">
  <ds:schemaRefs>
    <ds:schemaRef ds:uri="2e414018-f3d4-4a42-8b29-899b09e17ac8"/>
    <ds:schemaRef ds:uri="http://purl.org/dc/terms/"/>
    <ds:schemaRef ds:uri="http://purl.org/dc/elements/1.1/"/>
    <ds:schemaRef ds:uri="http://schemas.microsoft.com/office/2006/metadata/properties"/>
    <ds:schemaRef ds:uri="http://www.w3.org/XML/1998/namespace"/>
    <ds:schemaRef ds:uri="bcbe4fbc-b83f-4532-9dfa-51c8e0abc8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0E588DA-5F4C-472C-B2A4-E71EA7A619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e4fbc-b83f-4532-9dfa-51c8e0abc8c0"/>
    <ds:schemaRef ds:uri="2e414018-f3d4-4a42-8b29-899b09e17a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BA37776-109B-42F7-9E98-67449389C7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9</Words>
  <Application>Microsoft Office PowerPoint</Application>
  <PresentationFormat>Panorámica</PresentationFormat>
  <Paragraphs>184</Paragraphs>
  <Slides>12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3" baseType="lpstr">
      <vt:lpstr>Office Them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uczek, Maximilian</dc:creator>
  <cp:lastModifiedBy>Sofia SCHWARTZ</cp:lastModifiedBy>
  <cp:revision>40</cp:revision>
  <dcterms:created xsi:type="dcterms:W3CDTF">2019-10-01T08:57:42Z</dcterms:created>
  <dcterms:modified xsi:type="dcterms:W3CDTF">2022-11-02T10:0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CF047FF7A0CF42B1EEC4A2134CEEB8</vt:lpwstr>
  </property>
  <property fmtid="{D5CDD505-2E9C-101B-9397-08002B2CF9AE}" pid="3" name="Order">
    <vt:r8>169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